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0" r:id="rId4"/>
    <p:sldMasterId id="2147483689" r:id="rId5"/>
    <p:sldMasterId id="2147483707" r:id="rId6"/>
    <p:sldMasterId id="2147483888" r:id="rId7"/>
  </p:sldMasterIdLst>
  <p:notesMasterIdLst>
    <p:notesMasterId r:id="rId10"/>
  </p:notesMasterIdLst>
  <p:sldIdLst>
    <p:sldId id="2147375304" r:id="rId8"/>
    <p:sldId id="2147375309" r:id="rId9"/>
  </p:sldIdLst>
  <p:sldSz cx="20105688" cy="11310938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Georgia" panose="02040502050405020303" pitchFamily="18" charset="0"/>
      <p:regular r:id="rId15"/>
      <p:bold r:id="rId16"/>
      <p:italic r:id="rId17"/>
      <p:boldItalic r:id="rId18"/>
    </p:embeddedFont>
    <p:embeddedFont>
      <p:font typeface="Segoe UI" panose="020B0502040204020203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6332">
          <p15:clr>
            <a:srgbClr val="A4A3A4"/>
          </p15:clr>
        </p15:guide>
        <p15:guide id="3" orient="horz" pos="35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E5E130B-AFAA-E31E-190D-87C50D49F32E}" name="Philip Chilvers" initials="PC" userId="S::philip.chilvers@scottishwater.co.uk::30537a4d-ba2f-458b-8b05-1469e338617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acey Gee" initials="TG" lastIdx="7" clrIdx="0"/>
  <p:cmAuthor id="2" name="Jonathan Ritchie" initials="JR" lastIdx="2" clrIdx="1">
    <p:extLst>
      <p:ext uri="{19B8F6BF-5375-455C-9EA6-DF929625EA0E}">
        <p15:presenceInfo xmlns:p15="http://schemas.microsoft.com/office/powerpoint/2012/main" userId="S::jonathan.ritchie2@scottishwater.co.uk::4f2094ee-0658-42b3-89dd-bba8f8f3889d" providerId="AD"/>
      </p:ext>
    </p:extLst>
  </p:cmAuthor>
  <p:cmAuthor id="3" name="Philip Chilvers" initials="PC" lastIdx="2" clrIdx="2">
    <p:extLst>
      <p:ext uri="{19B8F6BF-5375-455C-9EA6-DF929625EA0E}">
        <p15:presenceInfo xmlns:p15="http://schemas.microsoft.com/office/powerpoint/2012/main" userId="S::philip.chilvers@scottishwater.co.uk::30537a4d-ba2f-458b-8b05-1469e3386175" providerId="AD"/>
      </p:ext>
    </p:extLst>
  </p:cmAuthor>
  <p:cmAuthor id="4" name="James Selkirk" initials="JS" lastIdx="2" clrIdx="3">
    <p:extLst>
      <p:ext uri="{19B8F6BF-5375-455C-9EA6-DF929625EA0E}">
        <p15:presenceInfo xmlns:p15="http://schemas.microsoft.com/office/powerpoint/2012/main" userId="S::jamesselkirk@pathfinder.co.uk::ecc3cc11-8229-419e-b7ea-c30bf1466e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FF"/>
    <a:srgbClr val="CCECFF"/>
    <a:srgbClr val="F9B8A9"/>
    <a:srgbClr val="11B38B"/>
    <a:srgbClr val="84B7E6"/>
    <a:srgbClr val="3C6642"/>
    <a:srgbClr val="7030A0"/>
    <a:srgbClr val="BF9000"/>
    <a:srgbClr val="1DE9B6"/>
    <a:srgbClr val="0859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82915" autoAdjust="0"/>
  </p:normalViewPr>
  <p:slideViewPr>
    <p:cSldViewPr snapToGrid="0">
      <p:cViewPr varScale="1">
        <p:scale>
          <a:sx n="25" d="100"/>
          <a:sy n="25" d="100"/>
        </p:scale>
        <p:origin x="1286" y="48"/>
      </p:cViewPr>
      <p:guideLst>
        <p:guide pos="6332"/>
        <p:guide orient="horz" pos="356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Master" Target="slideMasters/slideMaster4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font" Target="fonts/font1.fntdata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09394-B3D8-2049-8680-C8BD3709DB69}" type="datetimeFigureOut">
              <a:rPr lang="en-US" smtClean="0"/>
              <a:t>9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AAD55-F90D-564C-9AE7-581C645E2D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630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EAAD55-F90D-564C-9AE7-581C645E2D9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767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8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7.emf"/><Relationship Id="rId2" Type="http://schemas.openxmlformats.org/officeDocument/2006/relationships/tags" Target="../tags/tag4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image" Target="../media/image11.pn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image" Target="../media/image10.emf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11" Type="http://schemas.openxmlformats.org/officeDocument/2006/relationships/oleObject" Target="../embeddings/oleObject4.bin"/><Relationship Id="rId5" Type="http://schemas.openxmlformats.org/officeDocument/2006/relationships/tags" Target="../tags/tag4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image" Target="../media/image7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7.emf"/><Relationship Id="rId2" Type="http://schemas.openxmlformats.org/officeDocument/2006/relationships/tags" Target="../tags/tag72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image" Target="../media/image7.emf"/><Relationship Id="rId2" Type="http://schemas.openxmlformats.org/officeDocument/2006/relationships/tags" Target="../tags/tag85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tags" Target="../tags/tag109.xml"/><Relationship Id="rId18" Type="http://schemas.openxmlformats.org/officeDocument/2006/relationships/image" Target="../media/image7.emf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oleObject" Target="../embeddings/oleObject8.bin"/><Relationship Id="rId2" Type="http://schemas.openxmlformats.org/officeDocument/2006/relationships/tags" Target="../tags/tag98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image" Target="../media/image12.emf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12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image" Target="../media/image7.emf"/><Relationship Id="rId2" Type="http://schemas.openxmlformats.org/officeDocument/2006/relationships/tags" Target="../tags/tag126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5" Type="http://schemas.openxmlformats.org/officeDocument/2006/relationships/tags" Target="../tags/tag129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9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1.xml"/><Relationship Id="rId7" Type="http://schemas.openxmlformats.org/officeDocument/2006/relationships/image" Target="../media/image10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7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image" Target="../media/image15.png"/><Relationship Id="rId4" Type="http://schemas.openxmlformats.org/officeDocument/2006/relationships/tags" Target="../tags/tag175.xml"/><Relationship Id="rId9" Type="http://schemas.openxmlformats.org/officeDocument/2006/relationships/image" Target="../media/image14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82.xml"/><Relationship Id="rId11" Type="http://schemas.openxmlformats.org/officeDocument/2006/relationships/image" Target="../media/image7.emf"/><Relationship Id="rId5" Type="http://schemas.openxmlformats.org/officeDocument/2006/relationships/tags" Target="../tags/tag18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80.xml"/><Relationship Id="rId9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10" Type="http://schemas.openxmlformats.org/officeDocument/2006/relationships/image" Target="../media/image14.emf"/><Relationship Id="rId4" Type="http://schemas.openxmlformats.org/officeDocument/2006/relationships/tags" Target="../tags/tag187.xml"/><Relationship Id="rId9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image" Target="../media/image14.emf"/><Relationship Id="rId4" Type="http://schemas.openxmlformats.org/officeDocument/2006/relationships/tags" Target="../tags/tag193.xml"/><Relationship Id="rId9" Type="http://schemas.openxmlformats.org/officeDocument/2006/relationships/oleObject" Target="../embeddings/oleObject16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9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97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05.xml"/><Relationship Id="rId11" Type="http://schemas.openxmlformats.org/officeDocument/2006/relationships/image" Target="../media/image14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image" Target="../media/image5.png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7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21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image" Target="../media/image5.png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image" Target="../media/image7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20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1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image" Target="../media/image5.png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7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28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image" Target="../media/image5.png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image" Target="../media/image12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36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3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34.xml"/><Relationship Id="rId9" Type="http://schemas.openxmlformats.org/officeDocument/2006/relationships/tags" Target="../tags/tag23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image" Target="../media/image5.png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7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44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4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52.xml"/><Relationship Id="rId11" Type="http://schemas.openxmlformats.org/officeDocument/2006/relationships/image" Target="../media/image5.png"/><Relationship Id="rId5" Type="http://schemas.openxmlformats.org/officeDocument/2006/relationships/tags" Target="../tags/tag251.xml"/><Relationship Id="rId10" Type="http://schemas.openxmlformats.org/officeDocument/2006/relationships/image" Target="../media/image14.emf"/><Relationship Id="rId4" Type="http://schemas.openxmlformats.org/officeDocument/2006/relationships/tags" Target="../tags/tag250.xml"/><Relationship Id="rId9" Type="http://schemas.openxmlformats.org/officeDocument/2006/relationships/oleObject" Target="../embeddings/oleObject24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5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4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15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261.xml"/><Relationship Id="rId7" Type="http://schemas.openxmlformats.org/officeDocument/2006/relationships/slideMaster" Target="../slideMasters/slideMaster3.xml"/><Relationship Id="rId12" Type="http://schemas.microsoft.com/office/2007/relationships/hdphoto" Target="../media/hdphoto1.wdp"/><Relationship Id="rId2" Type="http://schemas.openxmlformats.org/officeDocument/2006/relationships/tags" Target="../tags/tag26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4.xml"/><Relationship Id="rId11" Type="http://schemas.openxmlformats.org/officeDocument/2006/relationships/image" Target="../media/image16.png"/><Relationship Id="rId5" Type="http://schemas.openxmlformats.org/officeDocument/2006/relationships/tags" Target="../tags/tag263.xml"/><Relationship Id="rId10" Type="http://schemas.openxmlformats.org/officeDocument/2006/relationships/image" Target="../media/image15.png"/><Relationship Id="rId4" Type="http://schemas.openxmlformats.org/officeDocument/2006/relationships/tags" Target="../tags/tag262.xml"/><Relationship Id="rId9" Type="http://schemas.openxmlformats.org/officeDocument/2006/relationships/image" Target="../media/image14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ia-partners.com/en" TargetMode="External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9.png"/><Relationship Id="rId4" Type="http://schemas.openxmlformats.org/officeDocument/2006/relationships/hyperlink" Target="http://www.sia-partners.com/" TargetMode="Externa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ia-partners.com/en" TargetMode="External"/><Relationship Id="rId7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9.png"/><Relationship Id="rId4" Type="http://schemas.openxmlformats.org/officeDocument/2006/relationships/hyperlink" Target="http://www.sia-partners.com/" TargetMode="Externa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D155BD5-30BF-2F4D-9DAC-895FAB071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2166" y="9159875"/>
            <a:ext cx="3308684" cy="1524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E9013A9-67AC-D245-A5A5-705D78D273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688" y="3597352"/>
            <a:ext cx="17341156" cy="2375009"/>
          </a:xfrm>
        </p:spPr>
        <p:txBody>
          <a:bodyPr anchor="b" anchorCtr="0"/>
          <a:lstStyle>
            <a:lvl1pPr>
              <a:lnSpc>
                <a:spcPts val="8860"/>
              </a:lnSpc>
              <a:defRPr sz="9000" spc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styl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2478C1-51FA-3047-8FA2-D87ACB49A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2166" y="9159875"/>
            <a:ext cx="3308684" cy="1524000"/>
          </a:xfrm>
          <a:prstGeom prst="rect">
            <a:avLst/>
          </a:prstGeom>
        </p:spPr>
      </p:pic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95A7A04F-4EDD-9343-808B-8DB1A0BC2C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7688" y="7244231"/>
            <a:ext cx="13335000" cy="590931"/>
          </a:xfrm>
        </p:spPr>
        <p:txBody>
          <a:bodyPr/>
          <a:lstStyle>
            <a:lvl1pPr>
              <a:defRPr sz="3600" spc="0" baseline="0">
                <a:solidFill>
                  <a:srgbClr val="84B7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475477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orient="horz" pos="2537" userDrawn="1">
          <p15:clr>
            <a:srgbClr val="FBAE40"/>
          </p15:clr>
        </p15:guide>
        <p15:guide id="10" orient="horz" pos="1961" userDrawn="1">
          <p15:clr>
            <a:srgbClr val="FBAE40"/>
          </p15:clr>
        </p15:guide>
        <p15:guide id="11" orient="horz" pos="3264" userDrawn="1">
          <p15:clr>
            <a:srgbClr val="FBAE40"/>
          </p15:clr>
        </p15:guide>
        <p15:guide id="13" orient="horz" pos="3881" userDrawn="1">
          <p15:clr>
            <a:srgbClr val="FBAE40"/>
          </p15:clr>
        </p15:guide>
        <p15:guide id="14" orient="horz" pos="4183" userDrawn="1">
          <p15:clr>
            <a:srgbClr val="FBAE40"/>
          </p15:clr>
        </p15:guide>
        <p15:guide id="15" orient="horz" pos="4855" userDrawn="1">
          <p15:clr>
            <a:srgbClr val="FBAE40"/>
          </p15:clr>
        </p15:guide>
        <p15:guide id="16" orient="horz" pos="4581" userDrawn="1">
          <p15:clr>
            <a:srgbClr val="FBAE40"/>
          </p15:clr>
        </p15:guide>
        <p15:guide id="17" orient="horz" pos="359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E8700AF-35EA-7841-A1F6-5300187629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0105688" cy="1131093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64E4D2-529D-0644-9936-EAE69D663E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3445" y="6181144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2D7588E-27DC-9D40-8541-EB015BC1D1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85644" y="6181144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19811CA-BBA5-2249-8A69-8D951C8252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87843" y="6186721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85D28AA-B7E0-1C4C-89BA-BE85F9DDCB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890043" y="6181144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2A7B3B-BD15-184C-9620-ED26F3DA03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ACD070-137E-EB48-82AC-6ECD023BC8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2600808"/>
            <a:ext cx="7780766" cy="766365"/>
          </a:xfrm>
        </p:spPr>
        <p:txBody>
          <a:bodyPr/>
          <a:lstStyle>
            <a:lvl1pPr>
              <a:defRPr sz="3200" b="1" i="0">
                <a:solidFill>
                  <a:srgbClr val="1266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0749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E8700AF-35EA-7841-A1F6-5300187629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0105688" cy="1131093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64E4D2-529D-0644-9936-EAE69D663E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3249" y="8624519"/>
            <a:ext cx="3995420" cy="923330"/>
          </a:xfrm>
        </p:spPr>
        <p:txBody>
          <a:bodyPr/>
          <a:lstStyle>
            <a:lvl1pPr algn="ctr">
              <a:defRPr sz="3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2D7588E-27DC-9D40-8541-EB015BC1D1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02933" y="8624519"/>
            <a:ext cx="3995420" cy="923330"/>
          </a:xfrm>
        </p:spPr>
        <p:txBody>
          <a:bodyPr/>
          <a:lstStyle>
            <a:lvl1pPr algn="ctr">
              <a:defRPr sz="3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19811CA-BBA5-2249-8A69-8D951C8252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642617" y="8624519"/>
            <a:ext cx="3995420" cy="923330"/>
          </a:xfrm>
        </p:spPr>
        <p:txBody>
          <a:bodyPr/>
          <a:lstStyle>
            <a:lvl1pPr algn="ctr">
              <a:defRPr sz="3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85D28AA-B7E0-1C4C-89BA-BE85F9DDCB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482301" y="8624519"/>
            <a:ext cx="3995420" cy="923330"/>
          </a:xfrm>
        </p:spPr>
        <p:txBody>
          <a:bodyPr/>
          <a:lstStyle>
            <a:lvl1pPr algn="ctr">
              <a:defRPr sz="3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A39F22-C447-2E4C-A295-914954F7F7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18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70927" y="1454151"/>
            <a:ext cx="12604536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6945313" y="1119933"/>
            <a:ext cx="1102995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C523C2-1AFE-254D-B883-85B85F9E9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161088" cy="11310938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4A227A-B9D5-1F4F-9F37-242CA78EC6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81938" y="2588209"/>
            <a:ext cx="10093325" cy="535531"/>
          </a:xfrm>
        </p:spPr>
        <p:txBody>
          <a:bodyPr anchor="ctr" anchorCtr="0">
            <a:spAutoFit/>
          </a:bodyPr>
          <a:lstStyle>
            <a:lvl1pPr>
              <a:defRPr sz="3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9E9F44-D956-094B-981D-A292A37AA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556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4375" userDrawn="1">
          <p15:clr>
            <a:srgbClr val="FBAE40"/>
          </p15:clr>
        </p15:guide>
        <p15:guide id="10" pos="3881" userDrawn="1">
          <p15:clr>
            <a:srgbClr val="FBAE40"/>
          </p15:clr>
        </p15:guide>
        <p15:guide id="11" pos="496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70927" y="1454151"/>
            <a:ext cx="12604536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6945313" y="1119933"/>
            <a:ext cx="1102995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C523C2-1AFE-254D-B883-85B85F9E9D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161088" cy="5253638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4A227A-B9D5-1F4F-9F37-242CA78EC6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81938" y="2588209"/>
            <a:ext cx="10093325" cy="535531"/>
          </a:xfrm>
        </p:spPr>
        <p:txBody>
          <a:bodyPr anchor="ctr" anchorCtr="0">
            <a:spAutoFit/>
          </a:bodyPr>
          <a:lstStyle>
            <a:lvl1pPr>
              <a:defRPr sz="3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9E9F44-D956-094B-981D-A292A37AA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284A4A5-056A-7041-A854-E6E78E9A2F9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5656263"/>
            <a:ext cx="616743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666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12331">
          <p15:clr>
            <a:srgbClr val="FBAE40"/>
          </p15:clr>
        </p15:guide>
        <p15:guide id="3" orient="horz" pos="704">
          <p15:clr>
            <a:srgbClr val="FBAE40"/>
          </p15:clr>
        </p15:guide>
        <p15:guide id="4" orient="horz" pos="6421">
          <p15:clr>
            <a:srgbClr val="FBAE40"/>
          </p15:clr>
        </p15:guide>
        <p15:guide id="5" orient="horz" pos="1227">
          <p15:clr>
            <a:srgbClr val="FBAE40"/>
          </p15:clr>
        </p15:guide>
        <p15:guide id="6" orient="horz" pos="1615">
          <p15:clr>
            <a:srgbClr val="FBAE40"/>
          </p15:clr>
        </p15:guide>
        <p15:guide id="7" orient="horz" pos="916">
          <p15:clr>
            <a:srgbClr val="FBAE40"/>
          </p15:clr>
        </p15:guide>
        <p15:guide id="8" pos="11318">
          <p15:clr>
            <a:srgbClr val="FBAE40"/>
          </p15:clr>
        </p15:guide>
        <p15:guide id="9" pos="4375">
          <p15:clr>
            <a:srgbClr val="FBAE40"/>
          </p15:clr>
        </p15:guide>
        <p15:guide id="10" pos="3881">
          <p15:clr>
            <a:srgbClr val="FBAE40"/>
          </p15:clr>
        </p15:guide>
        <p15:guide id="11" pos="496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1500174-7C73-844F-9EF2-9C64BB5BF99B}"/>
              </a:ext>
            </a:extLst>
          </p:cNvPr>
          <p:cNvSpPr/>
          <p:nvPr userDrawn="1"/>
        </p:nvSpPr>
        <p:spPr>
          <a:xfrm>
            <a:off x="-15037" y="-133004"/>
            <a:ext cx="20248216" cy="11460567"/>
          </a:xfrm>
          <a:prstGeom prst="rect">
            <a:avLst/>
          </a:prstGeom>
          <a:solidFill>
            <a:srgbClr val="1266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1477585"/>
          </a:xfrm>
        </p:spPr>
        <p:txBody>
          <a:bodyPr anchor="t" anchorCtr="0">
            <a:normAutofit/>
          </a:bodyPr>
          <a:lstStyle>
            <a:lvl1pPr algn="l">
              <a:defRPr sz="4400" spc="3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58445" y="280919"/>
            <a:ext cx="1379957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C5C3338-D855-1D45-827A-67DC9D65EEB3}"/>
              </a:ext>
            </a:extLst>
          </p:cNvPr>
          <p:cNvCxnSpPr>
            <a:cxnSpLocks/>
          </p:cNvCxnSpPr>
          <p:nvPr userDrawn="1"/>
        </p:nvCxnSpPr>
        <p:spPr>
          <a:xfrm>
            <a:off x="9061450" y="7296425"/>
            <a:ext cx="1104265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EFA05-40AA-1B46-B7A5-F3E3F3211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61450" y="6223177"/>
            <a:ext cx="10514013" cy="1004888"/>
          </a:xfrm>
        </p:spPr>
        <p:txBody>
          <a:bodyPr>
            <a:normAutofit/>
          </a:bodyPr>
          <a:lstStyle>
            <a:lvl1pPr>
              <a:defRPr sz="5400" b="1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9F0DA7-CC66-3440-9539-D0ABA0E2D7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61450" y="7631388"/>
            <a:ext cx="10514013" cy="3060700"/>
          </a:xfrm>
        </p:spPr>
        <p:txBody>
          <a:bodyPr>
            <a:normAutofit/>
          </a:bodyPr>
          <a:lstStyle>
            <a:lvl1pPr marL="361800" indent="-361800">
              <a:buFont typeface="Arial" panose="020B0604020202020204" pitchFamily="34" charset="0"/>
              <a:buChar char="•"/>
              <a:defRPr sz="3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25469" indent="-571500">
              <a:buFont typeface="Arial" panose="020B0604020202020204" pitchFamily="34" charset="0"/>
              <a:buChar char="•"/>
              <a:defRPr/>
            </a:lvl2pPr>
            <a:lvl3pPr marL="1965137" indent="-457200">
              <a:buFont typeface="Arial" panose="020B0604020202020204" pitchFamily="34" charset="0"/>
              <a:buChar char="•"/>
              <a:defRPr/>
            </a:lvl3pPr>
            <a:lvl4pPr marL="2719106" indent="-457200">
              <a:buFont typeface="Arial" panose="020B0604020202020204" pitchFamily="34" charset="0"/>
              <a:buChar char="•"/>
              <a:defRPr/>
            </a:lvl4pPr>
            <a:lvl5pPr marL="3473074" indent="-4572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367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5702" userDrawn="1">
          <p15:clr>
            <a:srgbClr val="FBAE40"/>
          </p15:clr>
        </p15:guide>
        <p15:guide id="10" orient="horz" pos="3989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  <p15:guide id="12" orient="horz" pos="4277" userDrawn="1">
          <p15:clr>
            <a:srgbClr val="FBAE40"/>
          </p15:clr>
        </p15:guide>
        <p15:guide id="13" orient="horz" pos="449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1BACEA1-7159-D44E-9721-A2843F3CF0DA}"/>
              </a:ext>
            </a:extLst>
          </p:cNvPr>
          <p:cNvSpPr/>
          <p:nvPr userDrawn="1"/>
        </p:nvSpPr>
        <p:spPr>
          <a:xfrm>
            <a:off x="-15037" y="-133004"/>
            <a:ext cx="20248216" cy="11460567"/>
          </a:xfrm>
          <a:prstGeom prst="rect">
            <a:avLst/>
          </a:prstGeom>
          <a:solidFill>
            <a:srgbClr val="1266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58445" y="280919"/>
            <a:ext cx="1379957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C5C3338-D855-1D45-827A-67DC9D65EEB3}"/>
              </a:ext>
            </a:extLst>
          </p:cNvPr>
          <p:cNvCxnSpPr>
            <a:cxnSpLocks/>
          </p:cNvCxnSpPr>
          <p:nvPr userDrawn="1"/>
        </p:nvCxnSpPr>
        <p:spPr>
          <a:xfrm>
            <a:off x="9061450" y="9300243"/>
            <a:ext cx="1104265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EFA05-40AA-1B46-B7A5-F3E3F3211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61450" y="8226995"/>
            <a:ext cx="10514013" cy="861005"/>
          </a:xfrm>
        </p:spPr>
        <p:txBody>
          <a:bodyPr anchor="b" anchorCtr="0">
            <a:spAutoFit/>
          </a:bodyPr>
          <a:lstStyle>
            <a:lvl1pPr>
              <a:defRPr sz="5400" b="1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32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5702" userDrawn="1">
          <p15:clr>
            <a:srgbClr val="FBAE40"/>
          </p15:clr>
        </p15:guide>
        <p15:guide id="10" orient="horz" pos="3989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  <p15:guide id="12" orient="horz" pos="4277" userDrawn="1">
          <p15:clr>
            <a:srgbClr val="FBAE40"/>
          </p15:clr>
        </p15:guide>
        <p15:guide id="13" orient="horz" pos="449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F2C892F-26BC-A346-B8EC-9C8ADF53153F}"/>
              </a:ext>
            </a:extLst>
          </p:cNvPr>
          <p:cNvSpPr/>
          <p:nvPr userDrawn="1"/>
        </p:nvSpPr>
        <p:spPr>
          <a:xfrm>
            <a:off x="-15037" y="-133004"/>
            <a:ext cx="20248216" cy="11460567"/>
          </a:xfrm>
          <a:prstGeom prst="rect">
            <a:avLst/>
          </a:prstGeom>
          <a:solidFill>
            <a:srgbClr val="1266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1477585"/>
          </a:xfrm>
        </p:spPr>
        <p:txBody>
          <a:bodyPr anchor="t" anchorCtr="0">
            <a:normAutofit/>
          </a:bodyPr>
          <a:lstStyle>
            <a:lvl1pPr algn="l">
              <a:defRPr sz="4400" b="1" spc="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58445" y="280919"/>
            <a:ext cx="1379957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EFA05-40AA-1B46-B7A5-F3E3F3211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7688" y="3473487"/>
            <a:ext cx="13219112" cy="6717517"/>
          </a:xfrm>
        </p:spPr>
        <p:txBody>
          <a:bodyPr>
            <a:normAutofit/>
          </a:bodyPr>
          <a:lstStyle>
            <a:lvl1pPr>
              <a:defRPr sz="54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68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5702" userDrawn="1">
          <p15:clr>
            <a:srgbClr val="FBAE40"/>
          </p15:clr>
        </p15:guide>
        <p15:guide id="10" orient="horz" pos="3989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  <p15:guide id="12" orient="horz" pos="4277" userDrawn="1">
          <p15:clr>
            <a:srgbClr val="FBAE40"/>
          </p15:clr>
        </p15:guide>
        <p15:guide id="13" orient="horz" pos="449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fruit&#10;&#10;Description automatically generated">
            <a:extLst>
              <a:ext uri="{FF2B5EF4-FFF2-40B4-BE49-F238E27FC236}">
                <a16:creationId xmlns:a16="http://schemas.microsoft.com/office/drawing/2014/main" id="{EC48FA71-A52D-8F41-BD94-DB15E095DA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97"/>
            <a:ext cx="20104100" cy="1130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004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5696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794" y="2819881"/>
            <a:ext cx="17341156" cy="4705035"/>
          </a:xfrm>
        </p:spPr>
        <p:txBody>
          <a:bodyPr anchor="b"/>
          <a:lstStyle>
            <a:lvl1pPr>
              <a:defRPr sz="9895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794" y="7569428"/>
            <a:ext cx="17341156" cy="2474267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69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937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906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4pPr>
            <a:lvl5pPr marL="3015874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5pPr>
            <a:lvl6pPr marL="3769843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6pPr>
            <a:lvl7pPr marL="4523811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7pPr>
            <a:lvl8pPr marL="5277780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8pPr>
            <a:lvl9pPr marL="6031748" indent="0">
              <a:buNone/>
              <a:defRPr sz="263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31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172B426-71D8-6341-A000-BCD6016BCD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257961"/>
            <a:ext cx="20104100" cy="116678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8358445" y="280919"/>
            <a:ext cx="1379957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EFA05-40AA-1B46-B7A5-F3E3F3211C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61450" y="8210046"/>
            <a:ext cx="10514013" cy="867545"/>
          </a:xfrm>
        </p:spPr>
        <p:txBody>
          <a:bodyPr anchor="b" anchorCtr="0">
            <a:spAutoFit/>
          </a:bodyPr>
          <a:lstStyle>
            <a:lvl1pPr>
              <a:lnSpc>
                <a:spcPts val="5880"/>
              </a:lnSpc>
              <a:defRPr sz="5400" b="1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6E54FE-5179-EF49-B86B-877EDDA4211F}"/>
              </a:ext>
            </a:extLst>
          </p:cNvPr>
          <p:cNvCxnSpPr>
            <a:cxnSpLocks/>
          </p:cNvCxnSpPr>
          <p:nvPr userDrawn="1"/>
        </p:nvCxnSpPr>
        <p:spPr>
          <a:xfrm>
            <a:off x="9061450" y="9464675"/>
            <a:ext cx="1104265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3612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5702" userDrawn="1">
          <p15:clr>
            <a:srgbClr val="FBAE40"/>
          </p15:clr>
        </p15:guide>
        <p15:guide id="10" orient="horz" pos="3989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  <p15:guide id="12" orient="horz" pos="4277" userDrawn="1">
          <p15:clr>
            <a:srgbClr val="FBAE40"/>
          </p15:clr>
        </p15:guide>
        <p15:guide id="13" orient="horz" pos="449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2266" y="3011014"/>
            <a:ext cx="8544917" cy="71766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78505" y="3011014"/>
            <a:ext cx="8544917" cy="717668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62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885" y="602203"/>
            <a:ext cx="17341156" cy="218625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4885" y="2772751"/>
            <a:ext cx="8505648" cy="1358883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69" indent="0">
              <a:buNone/>
              <a:defRPr sz="3298" b="1"/>
            </a:lvl2pPr>
            <a:lvl3pPr marL="1507937" indent="0">
              <a:buNone/>
              <a:defRPr sz="2968" b="1"/>
            </a:lvl3pPr>
            <a:lvl4pPr marL="2261906" indent="0">
              <a:buNone/>
              <a:defRPr sz="2639" b="1"/>
            </a:lvl4pPr>
            <a:lvl5pPr marL="3015874" indent="0">
              <a:buNone/>
              <a:defRPr sz="2639" b="1"/>
            </a:lvl5pPr>
            <a:lvl6pPr marL="3769843" indent="0">
              <a:buNone/>
              <a:defRPr sz="2639" b="1"/>
            </a:lvl6pPr>
            <a:lvl7pPr marL="4523811" indent="0">
              <a:buNone/>
              <a:defRPr sz="2639" b="1"/>
            </a:lvl7pPr>
            <a:lvl8pPr marL="5277780" indent="0">
              <a:buNone/>
              <a:defRPr sz="2639" b="1"/>
            </a:lvl8pPr>
            <a:lvl9pPr marL="6031748" indent="0">
              <a:buNone/>
              <a:defRPr sz="2639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84885" y="4131634"/>
            <a:ext cx="8505648" cy="60770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178505" y="2772751"/>
            <a:ext cx="8547536" cy="1358883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69" indent="0">
              <a:buNone/>
              <a:defRPr sz="3298" b="1"/>
            </a:lvl2pPr>
            <a:lvl3pPr marL="1507937" indent="0">
              <a:buNone/>
              <a:defRPr sz="2968" b="1"/>
            </a:lvl3pPr>
            <a:lvl4pPr marL="2261906" indent="0">
              <a:buNone/>
              <a:defRPr sz="2639" b="1"/>
            </a:lvl4pPr>
            <a:lvl5pPr marL="3015874" indent="0">
              <a:buNone/>
              <a:defRPr sz="2639" b="1"/>
            </a:lvl5pPr>
            <a:lvl6pPr marL="3769843" indent="0">
              <a:buNone/>
              <a:defRPr sz="2639" b="1"/>
            </a:lvl6pPr>
            <a:lvl7pPr marL="4523811" indent="0">
              <a:buNone/>
              <a:defRPr sz="2639" b="1"/>
            </a:lvl7pPr>
            <a:lvl8pPr marL="5277780" indent="0">
              <a:buNone/>
              <a:defRPr sz="2639" b="1"/>
            </a:lvl8pPr>
            <a:lvl9pPr marL="6031748" indent="0">
              <a:buNone/>
              <a:defRPr sz="2639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178505" y="4131634"/>
            <a:ext cx="8547536" cy="60770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0365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428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3148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886" y="754062"/>
            <a:ext cx="6484607" cy="2639219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47536" y="1628567"/>
            <a:ext cx="10178505" cy="8038097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886" y="3393281"/>
            <a:ext cx="6484607" cy="6286474"/>
          </a:xfrm>
        </p:spPr>
        <p:txBody>
          <a:bodyPr/>
          <a:lstStyle>
            <a:lvl1pPr marL="0" indent="0">
              <a:buNone/>
              <a:defRPr sz="2639"/>
            </a:lvl1pPr>
            <a:lvl2pPr marL="753969" indent="0">
              <a:buNone/>
              <a:defRPr sz="2309"/>
            </a:lvl2pPr>
            <a:lvl3pPr marL="1507937" indent="0">
              <a:buNone/>
              <a:defRPr sz="1979"/>
            </a:lvl3pPr>
            <a:lvl4pPr marL="2261906" indent="0">
              <a:buNone/>
              <a:defRPr sz="1649"/>
            </a:lvl4pPr>
            <a:lvl5pPr marL="3015874" indent="0">
              <a:buNone/>
              <a:defRPr sz="1649"/>
            </a:lvl5pPr>
            <a:lvl6pPr marL="3769843" indent="0">
              <a:buNone/>
              <a:defRPr sz="1649"/>
            </a:lvl6pPr>
            <a:lvl7pPr marL="4523811" indent="0">
              <a:buNone/>
              <a:defRPr sz="1649"/>
            </a:lvl7pPr>
            <a:lvl8pPr marL="5277780" indent="0">
              <a:buNone/>
              <a:defRPr sz="1649"/>
            </a:lvl8pPr>
            <a:lvl9pPr marL="6031748" indent="0">
              <a:buNone/>
              <a:defRPr sz="1649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880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886" y="754062"/>
            <a:ext cx="6484607" cy="2639219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547536" y="1628567"/>
            <a:ext cx="10178505" cy="8038097"/>
          </a:xfrm>
        </p:spPr>
        <p:txBody>
          <a:bodyPr anchor="t"/>
          <a:lstStyle>
            <a:lvl1pPr marL="0" indent="0">
              <a:buNone/>
              <a:defRPr sz="5277"/>
            </a:lvl1pPr>
            <a:lvl2pPr marL="753969" indent="0">
              <a:buNone/>
              <a:defRPr sz="4617"/>
            </a:lvl2pPr>
            <a:lvl3pPr marL="1507937" indent="0">
              <a:buNone/>
              <a:defRPr sz="3958"/>
            </a:lvl3pPr>
            <a:lvl4pPr marL="2261906" indent="0">
              <a:buNone/>
              <a:defRPr sz="3298"/>
            </a:lvl4pPr>
            <a:lvl5pPr marL="3015874" indent="0">
              <a:buNone/>
              <a:defRPr sz="3298"/>
            </a:lvl5pPr>
            <a:lvl6pPr marL="3769843" indent="0">
              <a:buNone/>
              <a:defRPr sz="3298"/>
            </a:lvl6pPr>
            <a:lvl7pPr marL="4523811" indent="0">
              <a:buNone/>
              <a:defRPr sz="3298"/>
            </a:lvl7pPr>
            <a:lvl8pPr marL="5277780" indent="0">
              <a:buNone/>
              <a:defRPr sz="3298"/>
            </a:lvl8pPr>
            <a:lvl9pPr marL="6031748" indent="0">
              <a:buNone/>
              <a:defRPr sz="3298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886" y="3393281"/>
            <a:ext cx="6484607" cy="6286474"/>
          </a:xfrm>
        </p:spPr>
        <p:txBody>
          <a:bodyPr/>
          <a:lstStyle>
            <a:lvl1pPr marL="0" indent="0">
              <a:buNone/>
              <a:defRPr sz="2639"/>
            </a:lvl1pPr>
            <a:lvl2pPr marL="753969" indent="0">
              <a:buNone/>
              <a:defRPr sz="2309"/>
            </a:lvl2pPr>
            <a:lvl3pPr marL="1507937" indent="0">
              <a:buNone/>
              <a:defRPr sz="1979"/>
            </a:lvl3pPr>
            <a:lvl4pPr marL="2261906" indent="0">
              <a:buNone/>
              <a:defRPr sz="1649"/>
            </a:lvl4pPr>
            <a:lvl5pPr marL="3015874" indent="0">
              <a:buNone/>
              <a:defRPr sz="1649"/>
            </a:lvl5pPr>
            <a:lvl6pPr marL="3769843" indent="0">
              <a:buNone/>
              <a:defRPr sz="1649"/>
            </a:lvl6pPr>
            <a:lvl7pPr marL="4523811" indent="0">
              <a:buNone/>
              <a:defRPr sz="1649"/>
            </a:lvl7pPr>
            <a:lvl8pPr marL="5277780" indent="0">
              <a:buNone/>
              <a:defRPr sz="1649"/>
            </a:lvl8pPr>
            <a:lvl9pPr marL="6031748" indent="0">
              <a:buNone/>
              <a:defRPr sz="1649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2044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2668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388133" y="602203"/>
            <a:ext cx="4335289" cy="9585497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82266" y="602203"/>
            <a:ext cx="12754546" cy="9585497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82266" y="10483565"/>
            <a:ext cx="452378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60009" y="10483565"/>
            <a:ext cx="6785670" cy="60220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99642" y="10483565"/>
            <a:ext cx="4523780" cy="602203"/>
          </a:xfrm>
          <a:prstGeom prst="rect">
            <a:avLst/>
          </a:prstGeom>
        </p:spPr>
        <p:txBody>
          <a:bodyPr/>
          <a:lstStyle/>
          <a:p>
            <a:fld id="{69AEC7FA-37AC-A544-92F0-846AA6A44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5654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771389"/>
              </p:ext>
            </p:ext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12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4481333" y="0"/>
            <a:ext cx="5624355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968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FE9D8D4-FC27-4626-9FC3-12C359377E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81333" y="0"/>
            <a:ext cx="5624355" cy="11310938"/>
          </a:xfrm>
          <a:prstGeom prst="rect">
            <a:avLst/>
          </a:prstGeom>
        </p:spPr>
      </p:pic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8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00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148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100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4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15039459" y="10644238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4809" y="10644238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15039459" y="1949324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4809" y="1949324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914809" y="338636"/>
            <a:ext cx="13058644" cy="109728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914809" y="1459183"/>
            <a:ext cx="13058644" cy="49014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1507937" rtl="0" eaLnBrk="1" fontAlgn="auto" latinLnBrk="0" hangingPunct="1">
              <a:lnSpc>
                <a:spcPct val="100000"/>
              </a:lnSpc>
              <a:spcBef>
                <a:spcPts val="495"/>
              </a:spcBef>
              <a:spcAft>
                <a:spcPts val="49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15034028" y="111333"/>
            <a:ext cx="4161877" cy="275012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GB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894900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20 1">
  <p:cSld name="Slide_20 1">
    <p:bg>
      <p:bgPr>
        <a:solidFill>
          <a:srgbClr val="FFFFFF"/>
        </a:solidFill>
        <a:effectLst/>
      </p:bgPr>
    </p:bg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48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1" name="Google Shape;521;p48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2" name="Google Shape;522;p48"/>
          <p:cNvPicPr preferRelativeResize="0"/>
          <p:nvPr/>
        </p:nvPicPr>
        <p:blipFill rotWithShape="1">
          <a:blip r:embed="rId2">
            <a:alphaModFix/>
          </a:blip>
          <a:srcRect t="25087" b="25077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523" name="Google Shape;523;p48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4" name="Google Shape;524;p48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5" name="Google Shape;525;p48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3830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6">
          <p15:clr>
            <a:srgbClr val="FA7B17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527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7256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5079" y="0"/>
            <a:ext cx="20105688" cy="11310938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910202" y="793580"/>
            <a:ext cx="3122056" cy="965200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968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968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910201" y="8220180"/>
            <a:ext cx="3136487" cy="1598613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979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914809" y="7438645"/>
            <a:ext cx="9922157" cy="355333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2309">
                <a:solidFill>
                  <a:schemeClr val="tx1"/>
                </a:solidFill>
              </a:defRPr>
            </a:lvl1pPr>
            <a:lvl2pPr marL="191111" indent="0">
              <a:buNone/>
              <a:defRPr>
                <a:solidFill>
                  <a:schemeClr val="bg1"/>
                </a:solidFill>
              </a:defRPr>
            </a:lvl2pPr>
            <a:lvl3pPr marL="769048" indent="0">
              <a:buNone/>
              <a:defRPr>
                <a:solidFill>
                  <a:schemeClr val="bg1"/>
                </a:solidFill>
              </a:defRPr>
            </a:lvl3pPr>
            <a:lvl4pPr marL="1342064" indent="0">
              <a:buNone/>
              <a:defRPr>
                <a:solidFill>
                  <a:schemeClr val="bg1"/>
                </a:solidFill>
              </a:defRPr>
            </a:lvl4pPr>
            <a:lvl5pPr marL="191508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0201" y="6749882"/>
            <a:ext cx="9922157" cy="50761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3298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910201" y="3380755"/>
            <a:ext cx="9922157" cy="316948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7256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910201" y="10210007"/>
            <a:ext cx="6785670" cy="588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327300" eaLnBrk="0" hangingPunct="0"/>
            <a:r>
              <a:rPr lang="en-US" sz="1319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1327300" eaLnBrk="0" hangingPunct="0"/>
            <a:r>
              <a:rPr lang="en-US" sz="1319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1319">
                <a:solidFill>
                  <a:schemeClr val="tx1"/>
                </a:solidFill>
                <a:latin typeface="+mn-lt"/>
              </a:rPr>
            </a:br>
            <a:r>
              <a:rPr lang="en-US" sz="1319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950920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284030"/>
            <a:ext cx="18276070" cy="1206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14809" y="1459183"/>
            <a:ext cx="18276070" cy="456856"/>
          </a:xfr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04885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14809" y="2814644"/>
            <a:ext cx="6288054" cy="11461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695268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14809" y="5020949"/>
            <a:ext cx="8353913" cy="126904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16313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914809" y="7554592"/>
            <a:ext cx="18276070" cy="111675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725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218176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483053" y="5865308"/>
            <a:ext cx="15139583" cy="86295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5607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2483053" y="7066665"/>
            <a:ext cx="15139583" cy="456856"/>
          </a:xfr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518438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629593" y="0"/>
            <a:ext cx="14476095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127613" y="10644238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4809" y="10644238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127613" y="1949324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4809" y="1949324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914809" y="4526304"/>
            <a:ext cx="4146798" cy="126904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914809" y="6035871"/>
            <a:ext cx="4146798" cy="913712"/>
          </a:xfr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32" indent="0" algn="ctr">
              <a:buNone/>
              <a:defRPr sz="3298"/>
            </a:lvl2pPr>
            <a:lvl3pPr marL="1507861" indent="0" algn="ctr">
              <a:buNone/>
              <a:defRPr sz="2968"/>
            </a:lvl3pPr>
            <a:lvl4pPr marL="2261793" indent="0" algn="ctr">
              <a:buNone/>
              <a:defRPr sz="2639"/>
            </a:lvl4pPr>
            <a:lvl5pPr marL="3015724" indent="0" algn="ctr">
              <a:buNone/>
              <a:defRPr sz="2639"/>
            </a:lvl5pPr>
            <a:lvl6pPr marL="3769655" indent="0" algn="ctr">
              <a:buNone/>
              <a:defRPr sz="2639"/>
            </a:lvl6pPr>
            <a:lvl7pPr marL="4523584" indent="0" algn="ctr">
              <a:buNone/>
              <a:defRPr sz="2639"/>
            </a:lvl7pPr>
            <a:lvl8pPr marL="5277516" indent="0" algn="ctr">
              <a:buNone/>
              <a:defRPr sz="2639"/>
            </a:lvl8pPr>
            <a:lvl9pPr marL="60314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955314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197836" y="0"/>
            <a:ext cx="12907852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7703254" y="10644238"/>
            <a:ext cx="114904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4809" y="10644238"/>
            <a:ext cx="571504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7703254" y="1949324"/>
            <a:ext cx="114904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4809" y="1949324"/>
            <a:ext cx="571504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914809" y="4526304"/>
            <a:ext cx="5715042" cy="12690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914808" y="6035872"/>
            <a:ext cx="5715040" cy="456856"/>
          </a:xfr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32" indent="0" algn="ctr">
              <a:buNone/>
              <a:defRPr sz="3298"/>
            </a:lvl2pPr>
            <a:lvl3pPr marL="1507861" indent="0" algn="ctr">
              <a:buNone/>
              <a:defRPr sz="2968"/>
            </a:lvl3pPr>
            <a:lvl4pPr marL="2261793" indent="0" algn="ctr">
              <a:buNone/>
              <a:defRPr sz="2639"/>
            </a:lvl4pPr>
            <a:lvl5pPr marL="3015724" indent="0" algn="ctr">
              <a:buNone/>
              <a:defRPr sz="2639"/>
            </a:lvl5pPr>
            <a:lvl6pPr marL="3769655" indent="0" algn="ctr">
              <a:buNone/>
              <a:defRPr sz="2639"/>
            </a:lvl6pPr>
            <a:lvl7pPr marL="4523584" indent="0" algn="ctr">
              <a:buNone/>
              <a:defRPr sz="2639"/>
            </a:lvl7pPr>
            <a:lvl8pPr marL="5277516" indent="0" algn="ctr">
              <a:buNone/>
              <a:defRPr sz="2639"/>
            </a:lvl8pPr>
            <a:lvl9pPr marL="60314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697228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0047818" y="0"/>
            <a:ext cx="10057870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10839741" y="10644238"/>
            <a:ext cx="835391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4809" y="10644238"/>
            <a:ext cx="835391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10839741" y="1949324"/>
            <a:ext cx="835391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4809" y="1949324"/>
            <a:ext cx="835391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914809" y="1949324"/>
            <a:ext cx="8353913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914809" y="284030"/>
            <a:ext cx="8353913" cy="1206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914809" y="1459183"/>
            <a:ext cx="8353913" cy="4568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751301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284030"/>
            <a:ext cx="11490401" cy="1206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12912878" y="0"/>
            <a:ext cx="7192810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13478613" y="10644238"/>
            <a:ext cx="571504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4809" y="10644238"/>
            <a:ext cx="114904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13478613" y="1949324"/>
            <a:ext cx="571504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914809" y="1949324"/>
            <a:ext cx="114904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914809" y="1949324"/>
            <a:ext cx="11490401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914809" y="1459183"/>
            <a:ext cx="11490401" cy="4568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914808" y="10723239"/>
            <a:ext cx="11490402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13480864" y="147315"/>
            <a:ext cx="5715042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06013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3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5B1DAF-8B58-324D-99FE-475E46347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688" y="3910013"/>
            <a:ext cx="7986712" cy="618631"/>
          </a:xfrm>
        </p:spPr>
        <p:txBody>
          <a:bodyPr/>
          <a:lstStyle>
            <a:lvl1pPr marL="742950" indent="-742950">
              <a:buFont typeface="+mj-lt"/>
              <a:buAutoNum type="arabicPeriod"/>
              <a:defRPr sz="3800" b="1" i="0">
                <a:solidFill>
                  <a:srgbClr val="1266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1128B43-0851-4740-9D00-A2AC592B09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052844" y="2563813"/>
            <a:ext cx="10052844" cy="8747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935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12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4481333" y="0"/>
            <a:ext cx="5624355" cy="11310938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68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8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00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484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100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8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15039459" y="10644238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4809" y="10644238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15039459" y="1949324"/>
            <a:ext cx="414679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4809" y="1949324"/>
            <a:ext cx="130586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914809" y="284030"/>
            <a:ext cx="13058644" cy="1206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914809" y="1459183"/>
            <a:ext cx="13058644" cy="49014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1507937" rtl="0" eaLnBrk="1" fontAlgn="auto" latinLnBrk="0" hangingPunct="1">
              <a:lnSpc>
                <a:spcPct val="100000"/>
              </a:lnSpc>
              <a:spcBef>
                <a:spcPts val="495"/>
              </a:spcBef>
              <a:spcAft>
                <a:spcPts val="49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15034028" y="147315"/>
            <a:ext cx="4161877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936727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914809" y="10644238"/>
            <a:ext cx="182760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914809" y="1949324"/>
            <a:ext cx="182760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14809" y="288910"/>
            <a:ext cx="18276070" cy="16320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439526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1802039" y="147315"/>
            <a:ext cx="7388840" cy="203048"/>
          </a:xfrm>
        </p:spPr>
        <p:txBody>
          <a:bodyPr anchor="ctr" anchorCtr="0">
            <a:spAutoFit/>
          </a:bodyPr>
          <a:lstStyle>
            <a:lvl1pPr algn="r">
              <a:defRPr sz="1319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436205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20105688" cy="11310938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905797" y="793580"/>
            <a:ext cx="3122056" cy="965200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968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968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039514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9004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908320" y="7850858"/>
            <a:ext cx="14682756" cy="355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309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ltGray">
          <a:xfrm>
            <a:off x="910201" y="7162093"/>
            <a:ext cx="14682756" cy="55330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95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ltGray">
          <a:xfrm>
            <a:off x="910201" y="4190859"/>
            <a:ext cx="14682756" cy="27715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9004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E6A954-735B-42AC-BDA1-3BEC88F3BEA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5791260" y="9073745"/>
            <a:ext cx="3386473" cy="156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481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1217164"/>
            <a:ext cx="18276070" cy="677670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3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14809" y="1954172"/>
            <a:ext cx="18276070" cy="4568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968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319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570999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2814644"/>
            <a:ext cx="6288054" cy="114617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95610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12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5020949"/>
            <a:ext cx="8353913" cy="1269043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856446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7256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061449" y="6996212"/>
            <a:ext cx="10129429" cy="223351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7256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3EAEB01-150B-486A-ACFD-7D7CFD35A987}"/>
              </a:ext>
            </a:extLst>
          </p:cNvPr>
          <p:cNvCxnSpPr>
            <a:cxnSpLocks/>
          </p:cNvCxnSpPr>
          <p:nvPr userDrawn="1"/>
        </p:nvCxnSpPr>
        <p:spPr>
          <a:xfrm>
            <a:off x="9061450" y="9464676"/>
            <a:ext cx="11042650" cy="0"/>
          </a:xfrm>
          <a:prstGeom prst="line">
            <a:avLst/>
          </a:prstGeom>
          <a:ln w="28575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368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5607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2483053" y="5865308"/>
            <a:ext cx="15139583" cy="86295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5607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83053" y="7066665"/>
            <a:ext cx="15139583" cy="4568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41172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5B1DAF-8B58-324D-99FE-475E46347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687" y="3257932"/>
            <a:ext cx="17427575" cy="563231"/>
          </a:xfrm>
        </p:spPr>
        <p:txBody>
          <a:bodyPr/>
          <a:lstStyle>
            <a:lvl1pPr marL="382950" indent="-382950">
              <a:spcAft>
                <a:spcPts val="1800"/>
              </a:spcAft>
              <a:buFont typeface="Arial" panose="020B0604020202020204" pitchFamily="34" charset="0"/>
              <a:buChar char="•"/>
              <a:defRPr sz="340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4365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05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orient="horz" pos="2043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629593" y="0"/>
            <a:ext cx="14476095" cy="11310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14809" y="4526304"/>
            <a:ext cx="4146798" cy="126904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809" y="6035871"/>
            <a:ext cx="4146798" cy="91371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32" indent="0" algn="ctr">
              <a:buNone/>
              <a:defRPr sz="3298"/>
            </a:lvl2pPr>
            <a:lvl3pPr marL="1507861" indent="0" algn="ctr">
              <a:buNone/>
              <a:defRPr sz="2968"/>
            </a:lvl3pPr>
            <a:lvl4pPr marL="2261793" indent="0" algn="ctr">
              <a:buNone/>
              <a:defRPr sz="2639"/>
            </a:lvl4pPr>
            <a:lvl5pPr marL="3015724" indent="0" algn="ctr">
              <a:buNone/>
              <a:defRPr sz="2639"/>
            </a:lvl5pPr>
            <a:lvl6pPr marL="3769655" indent="0" algn="ctr">
              <a:buNone/>
              <a:defRPr sz="2639"/>
            </a:lvl6pPr>
            <a:lvl7pPr marL="4523584" indent="0" algn="ctr">
              <a:buNone/>
              <a:defRPr sz="2639"/>
            </a:lvl7pPr>
            <a:lvl8pPr marL="5277516" indent="0" algn="ctr">
              <a:buNone/>
              <a:defRPr sz="2639"/>
            </a:lvl8pPr>
            <a:lvl9pPr marL="60314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914808" y="800950"/>
            <a:ext cx="4146800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E9A211F-41E9-4053-A3B0-3B8D5832533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857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197836" y="0"/>
            <a:ext cx="12907852" cy="11310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14809" y="4526304"/>
            <a:ext cx="5715042" cy="12690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808" y="6035872"/>
            <a:ext cx="5715040" cy="4568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32" indent="0" algn="ctr">
              <a:buNone/>
              <a:defRPr sz="3298"/>
            </a:lvl2pPr>
            <a:lvl3pPr marL="1507861" indent="0" algn="ctr">
              <a:buNone/>
              <a:defRPr sz="2968"/>
            </a:lvl3pPr>
            <a:lvl4pPr marL="2261793" indent="0" algn="ctr">
              <a:buNone/>
              <a:defRPr sz="2639"/>
            </a:lvl4pPr>
            <a:lvl5pPr marL="3015724" indent="0" algn="ctr">
              <a:buNone/>
              <a:defRPr sz="2639"/>
            </a:lvl5pPr>
            <a:lvl6pPr marL="3769655" indent="0" algn="ctr">
              <a:buNone/>
              <a:defRPr sz="2639"/>
            </a:lvl6pPr>
            <a:lvl7pPr marL="4523584" indent="0" algn="ctr">
              <a:buNone/>
              <a:defRPr sz="2639"/>
            </a:lvl7pPr>
            <a:lvl8pPr marL="5277516" indent="0" algn="ctr">
              <a:buNone/>
              <a:defRPr sz="2639"/>
            </a:lvl8pPr>
            <a:lvl9pPr marL="60314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914808" y="800950"/>
            <a:ext cx="5715043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B53B482-4441-4B4E-90A7-81B0CA28BC4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135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0047818" y="0"/>
            <a:ext cx="10057870" cy="11310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14809" y="1217165"/>
            <a:ext cx="8353913" cy="6775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809" y="1954172"/>
            <a:ext cx="8353913" cy="4568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A818A5-787D-475F-A463-86353E50312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714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914809" y="1217165"/>
            <a:ext cx="11490401" cy="6775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12912878" y="0"/>
            <a:ext cx="7192810" cy="11310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968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809" y="1954172"/>
            <a:ext cx="11490401" cy="4568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4808" y="10723239"/>
            <a:ext cx="11490402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82A2D34-489F-4720-9B16-AED65F3EFAA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6983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4481333" y="0"/>
            <a:ext cx="5624355" cy="11310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793" tIns="75396" rIns="150793" bIns="753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968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100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1484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100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84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914809" y="1217165"/>
            <a:ext cx="13058644" cy="67755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809" y="1954172"/>
            <a:ext cx="13058644" cy="4568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968" b="0">
                <a:solidFill>
                  <a:schemeClr val="tx1"/>
                </a:solidFill>
              </a:defRPr>
            </a:lvl1pPr>
            <a:lvl2pPr marL="753969" indent="0" algn="ctr">
              <a:buNone/>
              <a:defRPr sz="3298"/>
            </a:lvl2pPr>
            <a:lvl3pPr marL="1507937" indent="0" algn="ctr">
              <a:buNone/>
              <a:defRPr sz="2968"/>
            </a:lvl3pPr>
            <a:lvl4pPr marL="2261906" indent="0" algn="ctr">
              <a:buNone/>
              <a:defRPr sz="2639"/>
            </a:lvl4pPr>
            <a:lvl5pPr marL="3015874" indent="0" algn="ctr">
              <a:buNone/>
              <a:defRPr sz="2639"/>
            </a:lvl5pPr>
            <a:lvl6pPr marL="3769843" indent="0" algn="ctr">
              <a:buNone/>
              <a:defRPr sz="2639"/>
            </a:lvl6pPr>
            <a:lvl7pPr marL="4523811" indent="0" algn="ctr">
              <a:buNone/>
              <a:defRPr sz="2639"/>
            </a:lvl7pPr>
            <a:lvl8pPr marL="5277780" indent="0" algn="ctr">
              <a:buNone/>
              <a:defRPr sz="2639"/>
            </a:lvl8pPr>
            <a:lvl9pPr marL="6031748" indent="0" algn="ctr">
              <a:buNone/>
              <a:defRPr sz="2639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1507937" rtl="0" eaLnBrk="1" fontAlgn="auto" latinLnBrk="0" hangingPunct="1">
              <a:lnSpc>
                <a:spcPct val="100000"/>
              </a:lnSpc>
              <a:spcBef>
                <a:spcPts val="495"/>
              </a:spcBef>
              <a:spcAft>
                <a:spcPts val="49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31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2D143B-04AA-452A-BB05-EAEA636DB2F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2811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14809" y="1217165"/>
            <a:ext cx="18276070" cy="67755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191264-009A-4B49-BA21-91227095C83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D6C2192-5F44-4728-A8B7-6146511ABB4F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903187" y="1119933"/>
            <a:ext cx="16538078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78593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8655357" y="10718463"/>
            <a:ext cx="536780" cy="2283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100717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484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10071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84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914807" y="800950"/>
            <a:ext cx="6338005" cy="2030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1319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BA0E03-E4C2-4F4B-ABF2-660A8CB6B98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3C93BB6-0B53-429E-8E7B-E133F2EF1516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903187" y="1119933"/>
            <a:ext cx="16538078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25140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914808" y="10723239"/>
            <a:ext cx="12001837" cy="20300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319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408C4A-DEFC-41E3-9F1D-DEAB4ED9124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96021" y="4428217"/>
            <a:ext cx="5313647" cy="2454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1353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72CCBE-3551-4EA0-91F9-8C1A984498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9004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BC3D9CF3-8310-4492-9F78-C64A06BCC31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908320" y="7850858"/>
            <a:ext cx="14682756" cy="355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309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F8CAEFEB-B98A-4C59-997E-685A7F3BFE6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ltGray">
          <a:xfrm>
            <a:off x="910201" y="7162093"/>
            <a:ext cx="14682756" cy="55330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95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63565C12-1547-4CDB-86A2-4386888616F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ltGray">
          <a:xfrm>
            <a:off x="910201" y="4190859"/>
            <a:ext cx="14682756" cy="27715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9004" dirty="0"/>
            </a:lvl1pPr>
          </a:lstStyle>
          <a:p>
            <a:pPr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EFBDFBA-F478-4387-BBA3-E0D3C56EDE78}"/>
              </a:ext>
            </a:extLst>
          </p:cNvPr>
          <p:cNvGrpSpPr/>
          <p:nvPr userDrawn="1"/>
        </p:nvGrpSpPr>
        <p:grpSpPr>
          <a:xfrm>
            <a:off x="15791260" y="9073745"/>
            <a:ext cx="3386473" cy="1564299"/>
            <a:chOff x="9575750" y="5281613"/>
            <a:chExt cx="2053542" cy="94845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9535468-3A68-4C4D-8624-EEFE5A0755E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r="60726"/>
            <a:stretch/>
          </p:blipFill>
          <p:spPr>
            <a:xfrm>
              <a:off x="9575750" y="5281613"/>
              <a:ext cx="806500" cy="948459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68D780C-2EC8-4CA3-9D18-32AB96511F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39274"/>
            <a:stretch/>
          </p:blipFill>
          <p:spPr>
            <a:xfrm>
              <a:off x="10382250" y="5281613"/>
              <a:ext cx="1247042" cy="9484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2014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bis">
  <p:cSld name="Slide_1bis">
    <p:bg>
      <p:bgPr>
        <a:solidFill>
          <a:schemeClr val="lt2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2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2"/>
          <p:cNvSpPr txBox="1">
            <a:spLocks noGrp="1"/>
          </p:cNvSpPr>
          <p:nvPr>
            <p:ph type="subTitle" idx="1"/>
          </p:nvPr>
        </p:nvSpPr>
        <p:spPr>
          <a:xfrm>
            <a:off x="1323229" y="2561867"/>
            <a:ext cx="17459231" cy="1115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241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body" idx="2"/>
          </p:nvPr>
        </p:nvSpPr>
        <p:spPr>
          <a:xfrm>
            <a:off x="1326415" y="3693290"/>
            <a:ext cx="17451975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2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13;p2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2"/>
          <p:cNvSpPr txBox="1">
            <a:spLocks noGrp="1"/>
          </p:cNvSpPr>
          <p:nvPr>
            <p:ph type="body" idx="3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None/>
              <a:defRPr sz="1759" i="0" u="none" strike="noStrike" cap="none">
                <a:solidFill>
                  <a:schemeClr val="dk2"/>
                </a:solidFill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○"/>
              <a:defRPr sz="1759" i="0" u="none" strike="noStrike" cap="none">
                <a:solidFill>
                  <a:schemeClr val="dk2"/>
                </a:solidFill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■"/>
              <a:defRPr sz="1759" i="0" u="none" strike="noStrike" cap="none">
                <a:solidFill>
                  <a:schemeClr val="dk2"/>
                </a:solidFill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●"/>
              <a:defRPr sz="1759" i="0" u="none" strike="noStrike" cap="none">
                <a:solidFill>
                  <a:schemeClr val="dk2"/>
                </a:solidFill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○"/>
              <a:defRPr sz="1759" i="0" u="none" strike="noStrike" cap="none">
                <a:solidFill>
                  <a:schemeClr val="dk2"/>
                </a:solidFill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■"/>
              <a:defRPr sz="1759" i="0" u="none" strike="noStrike" cap="none">
                <a:solidFill>
                  <a:schemeClr val="dk2"/>
                </a:solidFill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●"/>
              <a:defRPr sz="1759" i="0" u="none" strike="noStrike" cap="none">
                <a:solidFill>
                  <a:schemeClr val="dk2"/>
                </a:solidFill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○"/>
              <a:defRPr sz="1759" i="0" u="none" strike="noStrike" cap="none">
                <a:solidFill>
                  <a:schemeClr val="dk2"/>
                </a:solidFill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Char char="■"/>
              <a:defRPr sz="1759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9774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41E51AA-86DD-0E43-A58A-413D429465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20105688" cy="1131093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5B1DAF-8B58-324D-99FE-475E46347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687" y="3257932"/>
            <a:ext cx="17427575" cy="563231"/>
          </a:xfrm>
        </p:spPr>
        <p:txBody>
          <a:bodyPr/>
          <a:lstStyle>
            <a:lvl1pPr marL="0" indent="0">
              <a:spcAft>
                <a:spcPts val="1800"/>
              </a:spcAft>
              <a:buFont typeface="Arial" panose="020B0604020202020204" pitchFamily="34" charset="0"/>
              <a:buNone/>
              <a:defRPr sz="340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264D67-7BF4-D743-9C7E-513BE9C016C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7688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C68189-10CA-D44B-83A7-0367E43A74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97005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16EA99-F1F9-6B46-9AF5-649115B36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46322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222086C-FCD6-0B49-BAAD-2743CCE607E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95639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1D08E9C-9B84-2D4C-B65C-58DD011161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944956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C76540-CC1C-7D47-9EAF-887ED99D7D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294271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7537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05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orient="horz" pos="204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2">
  <p:cSld name="Cover_2">
    <p:bg>
      <p:bgPr>
        <a:solidFill>
          <a:srgbClr val="FFFFFF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1327351" y="2975787"/>
            <a:ext cx="17451975" cy="323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3000"/>
              <a:buFont typeface="Arial"/>
              <a:buNone/>
              <a:defRPr sz="6596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subTitle" idx="1"/>
          </p:nvPr>
        </p:nvSpPr>
        <p:spPr>
          <a:xfrm>
            <a:off x="1327353" y="6211065"/>
            <a:ext cx="17451975" cy="162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Google Shape;36;p4"/>
          <p:cNvSpPr>
            <a:spLocks noGrp="1"/>
          </p:cNvSpPr>
          <p:nvPr>
            <p:ph type="pic" idx="2"/>
          </p:nvPr>
        </p:nvSpPr>
        <p:spPr>
          <a:xfrm>
            <a:off x="7145145" y="695292"/>
            <a:ext cx="5815346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797979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7979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" name="Google Shape;37;p4"/>
          <p:cNvSpPr/>
          <p:nvPr/>
        </p:nvSpPr>
        <p:spPr>
          <a:xfrm rot="-430330">
            <a:off x="11311708" y="6189270"/>
            <a:ext cx="12923111" cy="12924812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8" name="Google Shape;38;p4"/>
          <p:cNvCxnSpPr/>
          <p:nvPr/>
        </p:nvCxnSpPr>
        <p:spPr>
          <a:xfrm flipH="1">
            <a:off x="17993370" y="2223319"/>
            <a:ext cx="4042246" cy="385343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39;p4"/>
          <p:cNvSpPr/>
          <p:nvPr/>
        </p:nvSpPr>
        <p:spPr>
          <a:xfrm>
            <a:off x="17601767" y="5910287"/>
            <a:ext cx="622036" cy="622118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40;p4"/>
          <p:cNvSpPr txBox="1">
            <a:spLocks noGrp="1"/>
          </p:cNvSpPr>
          <p:nvPr>
            <p:ph type="body" idx="3"/>
          </p:nvPr>
        </p:nvSpPr>
        <p:spPr>
          <a:xfrm>
            <a:off x="1326417" y="2491771"/>
            <a:ext cx="8322620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979" b="1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Google Shape;41;p4"/>
          <p:cNvSpPr>
            <a:spLocks noGrp="1"/>
          </p:cNvSpPr>
          <p:nvPr>
            <p:ph type="pic" idx="4"/>
          </p:nvPr>
        </p:nvSpPr>
        <p:spPr>
          <a:xfrm>
            <a:off x="12960491" y="695292"/>
            <a:ext cx="5815346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797979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7979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body" idx="5"/>
          </p:nvPr>
        </p:nvSpPr>
        <p:spPr>
          <a:xfrm>
            <a:off x="1340278" y="8689109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Google Shape;43;p4"/>
          <p:cNvSpPr txBox="1">
            <a:spLocks noGrp="1"/>
          </p:cNvSpPr>
          <p:nvPr>
            <p:ph type="body" idx="6"/>
          </p:nvPr>
        </p:nvSpPr>
        <p:spPr>
          <a:xfrm>
            <a:off x="1340278" y="9053505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" name="Google Shape;44;p4"/>
          <p:cNvSpPr txBox="1">
            <a:spLocks noGrp="1"/>
          </p:cNvSpPr>
          <p:nvPr>
            <p:ph type="body" idx="7"/>
          </p:nvPr>
        </p:nvSpPr>
        <p:spPr>
          <a:xfrm>
            <a:off x="1340278" y="9417902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4"/>
          <p:cNvSpPr txBox="1">
            <a:spLocks noGrp="1"/>
          </p:cNvSpPr>
          <p:nvPr>
            <p:ph type="body" idx="8"/>
          </p:nvPr>
        </p:nvSpPr>
        <p:spPr>
          <a:xfrm>
            <a:off x="1340278" y="9782298"/>
            <a:ext cx="580479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Google Shape;46;p4"/>
          <p:cNvSpPr txBox="1">
            <a:spLocks noGrp="1"/>
          </p:cNvSpPr>
          <p:nvPr>
            <p:ph type="body" idx="9"/>
          </p:nvPr>
        </p:nvSpPr>
        <p:spPr>
          <a:xfrm>
            <a:off x="7158946" y="8689109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4"/>
          <p:cNvSpPr txBox="1">
            <a:spLocks noGrp="1"/>
          </p:cNvSpPr>
          <p:nvPr>
            <p:ph type="body" idx="13"/>
          </p:nvPr>
        </p:nvSpPr>
        <p:spPr>
          <a:xfrm>
            <a:off x="7158946" y="9053505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4"/>
          <p:cNvSpPr txBox="1">
            <a:spLocks noGrp="1"/>
          </p:cNvSpPr>
          <p:nvPr>
            <p:ph type="body" idx="14"/>
          </p:nvPr>
        </p:nvSpPr>
        <p:spPr>
          <a:xfrm>
            <a:off x="7158946" y="9417902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" name="Google Shape;49;p4"/>
          <p:cNvSpPr txBox="1">
            <a:spLocks noGrp="1"/>
          </p:cNvSpPr>
          <p:nvPr>
            <p:ph type="body" idx="15"/>
          </p:nvPr>
        </p:nvSpPr>
        <p:spPr>
          <a:xfrm>
            <a:off x="7158946" y="9782298"/>
            <a:ext cx="580479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Google Shape;50;p4"/>
          <p:cNvSpPr txBox="1">
            <a:spLocks noGrp="1"/>
          </p:cNvSpPr>
          <p:nvPr>
            <p:ph type="body" idx="16"/>
          </p:nvPr>
        </p:nvSpPr>
        <p:spPr>
          <a:xfrm>
            <a:off x="12964299" y="8689109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Google Shape;51;p4"/>
          <p:cNvSpPr txBox="1">
            <a:spLocks noGrp="1"/>
          </p:cNvSpPr>
          <p:nvPr>
            <p:ph type="body" idx="17"/>
          </p:nvPr>
        </p:nvSpPr>
        <p:spPr>
          <a:xfrm>
            <a:off x="12964299" y="9053505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4"/>
          <p:cNvSpPr txBox="1">
            <a:spLocks noGrp="1"/>
          </p:cNvSpPr>
          <p:nvPr>
            <p:ph type="body" idx="18"/>
          </p:nvPr>
        </p:nvSpPr>
        <p:spPr>
          <a:xfrm>
            <a:off x="12964299" y="9417902"/>
            <a:ext cx="580479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4"/>
          <p:cNvSpPr txBox="1">
            <a:spLocks noGrp="1"/>
          </p:cNvSpPr>
          <p:nvPr>
            <p:ph type="body" idx="19"/>
          </p:nvPr>
        </p:nvSpPr>
        <p:spPr>
          <a:xfrm>
            <a:off x="12964299" y="9782298"/>
            <a:ext cx="580479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4" name="Google Shape;54;p4"/>
          <p:cNvPicPr preferRelativeResize="0"/>
          <p:nvPr/>
        </p:nvPicPr>
        <p:blipFill rotWithShape="1">
          <a:blip r:embed="rId2">
            <a:alphaModFix/>
          </a:blip>
          <a:srcRect t="298" b="308"/>
          <a:stretch/>
        </p:blipFill>
        <p:spPr>
          <a:xfrm>
            <a:off x="1340270" y="1240967"/>
            <a:ext cx="4060881" cy="4704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5813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">
          <p15:clr>
            <a:srgbClr val="FA7B17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_1bis">
  <p:cSld name="Empty_1bis">
    <p:bg>
      <p:bgPr>
        <a:solidFill>
          <a:schemeClr val="dk1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7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71;p7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2" name="Google Shape;72;p7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7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0428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_2bis">
  <p:cSld name="Empty_2bis">
    <p:bg>
      <p:bgPr>
        <a:solidFill>
          <a:schemeClr val="dk1"/>
        </a:solidFill>
        <a:effectLst/>
      </p:bgPr>
    </p:bg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9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Google Shape;82;p9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9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4" name="Google Shape;84;p9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9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35484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20">
  <p:cSld name="Slide_20">
    <p:bg>
      <p:bgPr>
        <a:solidFill>
          <a:srgbClr val="FFFFFF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0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" name="Google Shape;88;p10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10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" name="Google Shape;90;p10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1" name="Google Shape;91;p10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0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75808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20bis">
  <p:cSld name="Slide_20bis">
    <p:bg>
      <p:bgPr>
        <a:solidFill>
          <a:schemeClr val="dk1"/>
        </a:solid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1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5" name="Google Shape;95;p11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6" name="Google Shape;96;p11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11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" name="Google Shape;98;p11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11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29097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bis">
  <p:cSld name="1_Slide_1bis">
    <p:bg>
      <p:bgPr>
        <a:solidFill>
          <a:schemeClr val="dk1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12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2" name="Google Shape;102;p12"/>
          <p:cNvSpPr txBox="1">
            <a:spLocks noGrp="1"/>
          </p:cNvSpPr>
          <p:nvPr>
            <p:ph type="subTitle" idx="1"/>
          </p:nvPr>
        </p:nvSpPr>
        <p:spPr>
          <a:xfrm>
            <a:off x="1323229" y="2561867"/>
            <a:ext cx="17459231" cy="1115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Google Shape;103;p12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Google Shape;104;p12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" name="Google Shape;105;p12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2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12"/>
          <p:cNvSpPr txBox="1">
            <a:spLocks noGrp="1"/>
          </p:cNvSpPr>
          <p:nvPr>
            <p:ph type="body" idx="3"/>
          </p:nvPr>
        </p:nvSpPr>
        <p:spPr>
          <a:xfrm>
            <a:off x="1326415" y="3693290"/>
            <a:ext cx="17451975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96983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bis">
  <p:cSld name="1_Slide_1bis">
    <p:bg>
      <p:bgPr>
        <a:solidFill>
          <a:schemeClr val="dk1"/>
        </a:solidFill>
        <a:effectLst/>
      </p:bgPr>
    </p:bg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4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9" name="Google Shape;119;p14"/>
          <p:cNvSpPr txBox="1">
            <a:spLocks noGrp="1"/>
          </p:cNvSpPr>
          <p:nvPr>
            <p:ph type="subTitle" idx="1"/>
          </p:nvPr>
        </p:nvSpPr>
        <p:spPr>
          <a:xfrm>
            <a:off x="1323229" y="2561867"/>
            <a:ext cx="17459231" cy="1115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p14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14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2" name="Google Shape;122;p14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14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4" name="Google Shape;124;p14"/>
          <p:cNvSpPr txBox="1">
            <a:spLocks noGrp="1"/>
          </p:cNvSpPr>
          <p:nvPr>
            <p:ph type="body" idx="3"/>
          </p:nvPr>
        </p:nvSpPr>
        <p:spPr>
          <a:xfrm>
            <a:off x="1326417" y="3693290"/>
            <a:ext cx="8726317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5" name="Google Shape;125;p14"/>
          <p:cNvSpPr txBox="1">
            <a:spLocks noGrp="1"/>
          </p:cNvSpPr>
          <p:nvPr>
            <p:ph type="body" idx="4"/>
          </p:nvPr>
        </p:nvSpPr>
        <p:spPr>
          <a:xfrm>
            <a:off x="10085639" y="3693290"/>
            <a:ext cx="8693335" cy="6404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09627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4bis">
  <p:cSld name="Slide_4bis">
    <p:bg>
      <p:bgPr>
        <a:solidFill>
          <a:schemeClr val="dk1"/>
        </a:solidFill>
        <a:effectLst/>
      </p:bgPr>
    </p:bg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15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8" name="Google Shape;128;p15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15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130;p15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1" name="Google Shape;131;p15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Google Shape;132;p15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3" name="Google Shape;133;p15"/>
          <p:cNvSpPr txBox="1">
            <a:spLocks noGrp="1"/>
          </p:cNvSpPr>
          <p:nvPr>
            <p:ph type="body" idx="3"/>
          </p:nvPr>
        </p:nvSpPr>
        <p:spPr>
          <a:xfrm>
            <a:off x="1326415" y="3708875"/>
            <a:ext cx="5818644" cy="639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" name="Google Shape;134;p15"/>
          <p:cNvSpPr txBox="1">
            <a:spLocks noGrp="1"/>
          </p:cNvSpPr>
          <p:nvPr>
            <p:ph type="body" idx="4"/>
          </p:nvPr>
        </p:nvSpPr>
        <p:spPr>
          <a:xfrm>
            <a:off x="7146484" y="3708873"/>
            <a:ext cx="5818644" cy="639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15"/>
          <p:cNvSpPr txBox="1">
            <a:spLocks noGrp="1"/>
          </p:cNvSpPr>
          <p:nvPr>
            <p:ph type="body" idx="5"/>
          </p:nvPr>
        </p:nvSpPr>
        <p:spPr>
          <a:xfrm>
            <a:off x="12966553" y="3708873"/>
            <a:ext cx="5818644" cy="6390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65272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3">
  <p:cSld name="Slide_3">
    <p:bg>
      <p:bgPr>
        <a:solidFill>
          <a:srgbClr val="FFFFFF"/>
        </a:solidFill>
        <a:effectLst/>
      </p:bgPr>
    </p:bg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7"/>
          <p:cNvSpPr txBox="1">
            <a:spLocks noGrp="1"/>
          </p:cNvSpPr>
          <p:nvPr>
            <p:ph type="title"/>
          </p:nvPr>
        </p:nvSpPr>
        <p:spPr>
          <a:xfrm>
            <a:off x="1319436" y="1202069"/>
            <a:ext cx="5824581" cy="8912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8" name="Google Shape;148;p17"/>
          <p:cNvSpPr/>
          <p:nvPr/>
        </p:nvSpPr>
        <p:spPr>
          <a:xfrm rot="-430255">
            <a:off x="-4749896" y="5763837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9" name="Google Shape;149;p17"/>
          <p:cNvCxnSpPr/>
          <p:nvPr/>
        </p:nvCxnSpPr>
        <p:spPr>
          <a:xfrm flipH="1">
            <a:off x="5583924" y="4548950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0" name="Google Shape;150;p17"/>
          <p:cNvSpPr/>
          <p:nvPr/>
        </p:nvSpPr>
        <p:spPr>
          <a:xfrm>
            <a:off x="6154399" y="6394853"/>
            <a:ext cx="622036" cy="622118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17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17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3" name="Google Shape;153;p17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17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5" name="Google Shape;155;p17"/>
          <p:cNvSpPr txBox="1">
            <a:spLocks noGrp="1"/>
          </p:cNvSpPr>
          <p:nvPr>
            <p:ph type="body" idx="2"/>
          </p:nvPr>
        </p:nvSpPr>
        <p:spPr>
          <a:xfrm>
            <a:off x="7153394" y="1201257"/>
            <a:ext cx="5806771" cy="8912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6" name="Google Shape;156;p17"/>
          <p:cNvSpPr txBox="1">
            <a:spLocks noGrp="1"/>
          </p:cNvSpPr>
          <p:nvPr>
            <p:ph type="body" idx="3"/>
          </p:nvPr>
        </p:nvSpPr>
        <p:spPr>
          <a:xfrm>
            <a:off x="12999970" y="1201257"/>
            <a:ext cx="5806771" cy="8912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979" b="0" i="0" u="none" strike="noStrike" cap="none"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3078" b="0" i="0" u="none" strike="noStrike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678723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3bis">
  <p:cSld name="Slide_3bis">
    <p:bg>
      <p:bgPr>
        <a:solidFill>
          <a:schemeClr val="dk1"/>
        </a:solidFill>
        <a:effectLst/>
      </p:bgPr>
    </p:bg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18"/>
          <p:cNvSpPr/>
          <p:nvPr/>
        </p:nvSpPr>
        <p:spPr>
          <a:xfrm rot="-430255">
            <a:off x="-4749980" y="5763846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9" name="Google Shape;159;p18"/>
          <p:cNvCxnSpPr/>
          <p:nvPr/>
        </p:nvCxnSpPr>
        <p:spPr>
          <a:xfrm flipH="1">
            <a:off x="5583924" y="4548950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0" name="Google Shape;160;p18"/>
          <p:cNvSpPr/>
          <p:nvPr/>
        </p:nvSpPr>
        <p:spPr>
          <a:xfrm>
            <a:off x="6154399" y="6394853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p18"/>
          <p:cNvSpPr txBox="1">
            <a:spLocks noGrp="1"/>
          </p:cNvSpPr>
          <p:nvPr>
            <p:ph type="title"/>
          </p:nvPr>
        </p:nvSpPr>
        <p:spPr>
          <a:xfrm>
            <a:off x="1338099" y="1201255"/>
            <a:ext cx="5767852" cy="8912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2" name="Google Shape;162;p18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" name="Google Shape;163;p18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4" name="Google Shape;164;p18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p18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6" name="Google Shape;166;p18"/>
          <p:cNvSpPr txBox="1">
            <a:spLocks noGrp="1"/>
          </p:cNvSpPr>
          <p:nvPr>
            <p:ph type="body" idx="2"/>
          </p:nvPr>
        </p:nvSpPr>
        <p:spPr>
          <a:xfrm>
            <a:off x="7153394" y="1201257"/>
            <a:ext cx="5806771" cy="8912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7" name="Google Shape;167;p18"/>
          <p:cNvSpPr txBox="1">
            <a:spLocks noGrp="1"/>
          </p:cNvSpPr>
          <p:nvPr>
            <p:ph type="body" idx="3"/>
          </p:nvPr>
        </p:nvSpPr>
        <p:spPr>
          <a:xfrm>
            <a:off x="12999970" y="1201257"/>
            <a:ext cx="5806771" cy="8912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0735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41E51AA-86DD-0E43-A58A-413D4294650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20105688" cy="11310938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5B1DAF-8B58-324D-99FE-475E46347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687" y="1489265"/>
            <a:ext cx="17427575" cy="563231"/>
          </a:xfrm>
        </p:spPr>
        <p:txBody>
          <a:bodyPr/>
          <a:lstStyle>
            <a:lvl1pPr marL="0" indent="0">
              <a:spcAft>
                <a:spcPts val="1800"/>
              </a:spcAft>
              <a:buFont typeface="Arial" panose="020B0604020202020204" pitchFamily="34" charset="0"/>
              <a:buNone/>
              <a:defRPr sz="3400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1D08E9C-9B84-2D4C-B65C-58DD011161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317995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C76540-CC1C-7D47-9EAF-887ED99D7D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667310" y="5295489"/>
            <a:ext cx="2300015" cy="535531"/>
          </a:xfrm>
        </p:spPr>
        <p:txBody>
          <a:bodyPr lIns="90000" anchor="ctr" anchorCtr="0"/>
          <a:lstStyle>
            <a:lvl1pPr algn="ctr">
              <a:defRPr sz="1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2825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05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orient="horz" pos="2043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7">
  <p:cSld name="Slide_7">
    <p:bg>
      <p:bgPr>
        <a:solidFill>
          <a:srgbClr val="FFFFFF"/>
        </a:solidFill>
        <a:effectLst/>
      </p:bgPr>
    </p:bg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9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5824581" cy="2031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0" name="Google Shape;170;p19"/>
          <p:cNvSpPr txBox="1">
            <a:spLocks noGrp="1"/>
          </p:cNvSpPr>
          <p:nvPr>
            <p:ph type="subTitle" idx="1"/>
          </p:nvPr>
        </p:nvSpPr>
        <p:spPr>
          <a:xfrm>
            <a:off x="1319436" y="3183984"/>
            <a:ext cx="5824581" cy="1226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1" name="Google Shape;171;p19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2" name="Google Shape;172;p19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3" name="Google Shape;173;p19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19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5" name="Google Shape;175;p19"/>
          <p:cNvSpPr txBox="1">
            <a:spLocks noGrp="1"/>
          </p:cNvSpPr>
          <p:nvPr>
            <p:ph type="body" idx="3"/>
          </p:nvPr>
        </p:nvSpPr>
        <p:spPr>
          <a:xfrm>
            <a:off x="7144014" y="3600669"/>
            <a:ext cx="5589751" cy="6513438"/>
          </a:xfrm>
          <a:prstGeom prst="rect">
            <a:avLst/>
          </a:prstGeom>
          <a:noFill/>
          <a:ln w="76200" cap="flat" cmpd="sng">
            <a:solidFill>
              <a:srgbClr val="E1E1E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4000" tIns="45700" rIns="54000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131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6" name="Google Shape;176;p19"/>
          <p:cNvSpPr txBox="1">
            <a:spLocks noGrp="1"/>
          </p:cNvSpPr>
          <p:nvPr>
            <p:ph type="body" idx="4"/>
          </p:nvPr>
        </p:nvSpPr>
        <p:spPr>
          <a:xfrm>
            <a:off x="13240772" y="3600667"/>
            <a:ext cx="5538299" cy="6513438"/>
          </a:xfrm>
          <a:prstGeom prst="rect">
            <a:avLst/>
          </a:prstGeom>
          <a:noFill/>
          <a:ln w="76200" cap="flat" cmpd="sng">
            <a:solidFill>
              <a:srgbClr val="E1E1E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4000" tIns="45700" rIns="54000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1319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7" name="Google Shape;177;p19"/>
          <p:cNvSpPr txBox="1">
            <a:spLocks noGrp="1"/>
          </p:cNvSpPr>
          <p:nvPr>
            <p:ph type="body" idx="5"/>
          </p:nvPr>
        </p:nvSpPr>
        <p:spPr>
          <a:xfrm>
            <a:off x="7166194" y="1217753"/>
            <a:ext cx="5567323" cy="2382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8" name="Google Shape;178;p19"/>
          <p:cNvSpPr txBox="1">
            <a:spLocks noGrp="1"/>
          </p:cNvSpPr>
          <p:nvPr>
            <p:ph type="body" idx="6"/>
          </p:nvPr>
        </p:nvSpPr>
        <p:spPr>
          <a:xfrm>
            <a:off x="13236869" y="1217753"/>
            <a:ext cx="5567323" cy="2382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9" name="Google Shape;179;p19"/>
          <p:cNvSpPr txBox="1">
            <a:spLocks noGrp="1"/>
          </p:cNvSpPr>
          <p:nvPr>
            <p:ph type="body" idx="7"/>
          </p:nvPr>
        </p:nvSpPr>
        <p:spPr>
          <a:xfrm>
            <a:off x="1319436" y="4410487"/>
            <a:ext cx="5824581" cy="570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40475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1bis">
  <p:cSld name="Slide_11bis">
    <p:bg>
      <p:bgPr>
        <a:solidFill>
          <a:srgbClr val="FFFFFF"/>
        </a:solidFill>
        <a:effectLst/>
      </p:bgPr>
    </p:bg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Google Shape;181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356218" y="4691200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20"/>
          <p:cNvSpPr/>
          <p:nvPr/>
        </p:nvSpPr>
        <p:spPr>
          <a:xfrm rot="-430255">
            <a:off x="11412792" y="-12666786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p20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4" name="Google Shape;184;p20"/>
          <p:cNvSpPr txBox="1">
            <a:spLocks noGrp="1"/>
          </p:cNvSpPr>
          <p:nvPr>
            <p:ph type="subTitle" idx="1"/>
          </p:nvPr>
        </p:nvSpPr>
        <p:spPr>
          <a:xfrm>
            <a:off x="1326417" y="2561866"/>
            <a:ext cx="17455932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5" name="Google Shape;185;p20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20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7" name="Google Shape;187;p20"/>
          <p:cNvPicPr preferRelativeResize="0"/>
          <p:nvPr/>
        </p:nvPicPr>
        <p:blipFill rotWithShape="1">
          <a:blip r:embed="rId3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188" name="Google Shape;188;p20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9" name="Google Shape;189;p20"/>
          <p:cNvSpPr txBox="1">
            <a:spLocks noGrp="1"/>
          </p:cNvSpPr>
          <p:nvPr>
            <p:ph type="body" idx="3"/>
          </p:nvPr>
        </p:nvSpPr>
        <p:spPr>
          <a:xfrm>
            <a:off x="1326415" y="5815535"/>
            <a:ext cx="5817325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0" name="Google Shape;190;p20"/>
          <p:cNvSpPr txBox="1">
            <a:spLocks noGrp="1"/>
          </p:cNvSpPr>
          <p:nvPr>
            <p:ph type="body" idx="4"/>
          </p:nvPr>
        </p:nvSpPr>
        <p:spPr>
          <a:xfrm>
            <a:off x="1326415" y="4082584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1" name="Google Shape;191;p20"/>
          <p:cNvSpPr txBox="1">
            <a:spLocks noGrp="1"/>
          </p:cNvSpPr>
          <p:nvPr>
            <p:ph type="body" idx="5"/>
          </p:nvPr>
        </p:nvSpPr>
        <p:spPr>
          <a:xfrm>
            <a:off x="1326415" y="4796359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2" name="Google Shape;192;p20"/>
          <p:cNvSpPr txBox="1">
            <a:spLocks noGrp="1"/>
          </p:cNvSpPr>
          <p:nvPr>
            <p:ph type="body" idx="6"/>
          </p:nvPr>
        </p:nvSpPr>
        <p:spPr>
          <a:xfrm>
            <a:off x="7149709" y="5815538"/>
            <a:ext cx="5817325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3" name="Google Shape;193;p20"/>
          <p:cNvSpPr txBox="1">
            <a:spLocks noGrp="1"/>
          </p:cNvSpPr>
          <p:nvPr>
            <p:ph type="body" idx="7"/>
          </p:nvPr>
        </p:nvSpPr>
        <p:spPr>
          <a:xfrm>
            <a:off x="7149709" y="4082586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4" name="Google Shape;194;p20"/>
          <p:cNvSpPr txBox="1">
            <a:spLocks noGrp="1"/>
          </p:cNvSpPr>
          <p:nvPr>
            <p:ph type="body" idx="8"/>
          </p:nvPr>
        </p:nvSpPr>
        <p:spPr>
          <a:xfrm>
            <a:off x="7149709" y="4796361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5" name="Google Shape;195;p20"/>
          <p:cNvSpPr txBox="1">
            <a:spLocks noGrp="1"/>
          </p:cNvSpPr>
          <p:nvPr>
            <p:ph type="body" idx="9"/>
          </p:nvPr>
        </p:nvSpPr>
        <p:spPr>
          <a:xfrm>
            <a:off x="12973004" y="5815538"/>
            <a:ext cx="5817325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3"/>
          </p:nvPr>
        </p:nvSpPr>
        <p:spPr>
          <a:xfrm>
            <a:off x="12973004" y="4082586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body" idx="14"/>
          </p:nvPr>
        </p:nvSpPr>
        <p:spPr>
          <a:xfrm>
            <a:off x="12973004" y="4796361"/>
            <a:ext cx="581732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27548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2">
  <p:cSld name="Slide_12">
    <p:bg>
      <p:bgPr>
        <a:solidFill>
          <a:srgbClr val="FFFFFF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21"/>
          <p:cNvSpPr txBox="1">
            <a:spLocks noGrp="1"/>
          </p:cNvSpPr>
          <p:nvPr>
            <p:ph type="body" idx="1"/>
          </p:nvPr>
        </p:nvSpPr>
        <p:spPr>
          <a:xfrm>
            <a:off x="12981557" y="1192118"/>
            <a:ext cx="5817985" cy="89267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45700" rIns="54000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0" name="Google Shape;200;p21"/>
          <p:cNvSpPr txBox="1">
            <a:spLocks noGrp="1"/>
          </p:cNvSpPr>
          <p:nvPr>
            <p:ph type="body" idx="2"/>
          </p:nvPr>
        </p:nvSpPr>
        <p:spPr>
          <a:xfrm>
            <a:off x="1326414" y="1186950"/>
            <a:ext cx="5817985" cy="89267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45700" rIns="54000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1" name="Google Shape;201;p21"/>
          <p:cNvSpPr txBox="1">
            <a:spLocks noGrp="1"/>
          </p:cNvSpPr>
          <p:nvPr>
            <p:ph type="body" idx="3"/>
          </p:nvPr>
        </p:nvSpPr>
        <p:spPr>
          <a:xfrm>
            <a:off x="7142671" y="1192118"/>
            <a:ext cx="5817985" cy="892670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54000" tIns="45700" rIns="54000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02" name="Google Shape;202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500294" y="5011374"/>
            <a:ext cx="1288022" cy="1288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3" name="Google Shape;203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7437" y="5110866"/>
            <a:ext cx="1288020" cy="1089201"/>
          </a:xfrm>
          <a:prstGeom prst="rect">
            <a:avLst/>
          </a:prstGeom>
          <a:noFill/>
          <a:ln>
            <a:noFill/>
          </a:ln>
        </p:spPr>
      </p:pic>
      <p:sp>
        <p:nvSpPr>
          <p:cNvPr id="204" name="Google Shape;204;p21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p21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6" name="Google Shape;206;p21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p21"/>
          <p:cNvSpPr txBox="1">
            <a:spLocks noGrp="1"/>
          </p:cNvSpPr>
          <p:nvPr>
            <p:ph type="body" idx="4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03888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6">
  <p:cSld name="Slide_6">
    <p:bg>
      <p:bgPr>
        <a:solidFill>
          <a:srgbClr val="FFFFFF"/>
        </a:solidFill>
        <a:effectLst/>
      </p:bgPr>
    </p:bg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2"/>
          <p:cNvSpPr txBox="1">
            <a:spLocks noGrp="1"/>
          </p:cNvSpPr>
          <p:nvPr>
            <p:ph type="title"/>
          </p:nvPr>
        </p:nvSpPr>
        <p:spPr>
          <a:xfrm>
            <a:off x="1319436" y="1186948"/>
            <a:ext cx="5569302" cy="1996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0" name="Google Shape;210;p22"/>
          <p:cNvSpPr txBox="1">
            <a:spLocks noGrp="1"/>
          </p:cNvSpPr>
          <p:nvPr>
            <p:ph type="subTitle" idx="1"/>
          </p:nvPr>
        </p:nvSpPr>
        <p:spPr>
          <a:xfrm>
            <a:off x="1319436" y="3183984"/>
            <a:ext cx="5569302" cy="166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11" name="Google Shape;211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647286" y="4007916"/>
            <a:ext cx="628301" cy="436380"/>
          </a:xfrm>
          <a:prstGeom prst="rect">
            <a:avLst/>
          </a:prstGeom>
          <a:noFill/>
          <a:ln>
            <a:noFill/>
          </a:ln>
        </p:spPr>
      </p:pic>
      <p:sp>
        <p:nvSpPr>
          <p:cNvPr id="212" name="Google Shape;212;p22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" name="Google Shape;213;p22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4" name="Google Shape;214;p22"/>
          <p:cNvPicPr preferRelativeResize="0"/>
          <p:nvPr/>
        </p:nvPicPr>
        <p:blipFill rotWithShape="1">
          <a:blip r:embed="rId3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22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22"/>
          <p:cNvSpPr txBox="1">
            <a:spLocks noGrp="1"/>
          </p:cNvSpPr>
          <p:nvPr>
            <p:ph type="body" idx="3"/>
          </p:nvPr>
        </p:nvSpPr>
        <p:spPr>
          <a:xfrm>
            <a:off x="1324328" y="4867816"/>
            <a:ext cx="5569302" cy="526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7" name="Google Shape;217;p22"/>
          <p:cNvSpPr txBox="1">
            <a:spLocks noGrp="1"/>
          </p:cNvSpPr>
          <p:nvPr>
            <p:ph type="body" idx="4"/>
          </p:nvPr>
        </p:nvSpPr>
        <p:spPr>
          <a:xfrm>
            <a:off x="7145200" y="1186948"/>
            <a:ext cx="11633990" cy="2445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8" name="Google Shape;218;p22"/>
          <p:cNvSpPr txBox="1">
            <a:spLocks noGrp="1"/>
          </p:cNvSpPr>
          <p:nvPr>
            <p:ph type="body" idx="5"/>
          </p:nvPr>
        </p:nvSpPr>
        <p:spPr>
          <a:xfrm>
            <a:off x="7144017" y="4867815"/>
            <a:ext cx="11635309" cy="5245452"/>
          </a:xfrm>
          <a:prstGeom prst="rect">
            <a:avLst/>
          </a:prstGeom>
          <a:noFill/>
          <a:ln w="76200" cap="flat" cmpd="sng">
            <a:solidFill>
              <a:srgbClr val="E1E1E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15581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8">
  <p:cSld name="Slide_8">
    <p:bg>
      <p:bgPr>
        <a:solidFill>
          <a:srgbClr val="FFFFFF"/>
        </a:solidFill>
        <a:effectLst/>
      </p:bgPr>
    </p:bg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23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1" name="Google Shape;221;p23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739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2" name="Google Shape;222;p23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3" name="Google Shape;223;p23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4" name="Google Shape;224;p23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25" name="Google Shape;225;p23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6" name="Google Shape;226;p23"/>
          <p:cNvSpPr txBox="1">
            <a:spLocks noGrp="1"/>
          </p:cNvSpPr>
          <p:nvPr>
            <p:ph type="body" idx="3"/>
          </p:nvPr>
        </p:nvSpPr>
        <p:spPr>
          <a:xfrm>
            <a:off x="1340377" y="4810530"/>
            <a:ext cx="8712465" cy="5302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7" name="Google Shape;227;p23"/>
          <p:cNvSpPr txBox="1">
            <a:spLocks noGrp="1"/>
          </p:cNvSpPr>
          <p:nvPr>
            <p:ph type="title" idx="4"/>
          </p:nvPr>
        </p:nvSpPr>
        <p:spPr>
          <a:xfrm>
            <a:off x="1319434" y="3555903"/>
            <a:ext cx="8733573" cy="1000139"/>
          </a:xfrm>
          <a:prstGeom prst="rect">
            <a:avLst/>
          </a:prstGeom>
          <a:solidFill>
            <a:schemeClr val="accent1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858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23"/>
          <p:cNvSpPr txBox="1">
            <a:spLocks noGrp="1"/>
          </p:cNvSpPr>
          <p:nvPr>
            <p:ph type="body" idx="5"/>
          </p:nvPr>
        </p:nvSpPr>
        <p:spPr>
          <a:xfrm>
            <a:off x="10071991" y="4810530"/>
            <a:ext cx="8712465" cy="5302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9" name="Google Shape;229;p23"/>
          <p:cNvSpPr txBox="1"/>
          <p:nvPr/>
        </p:nvSpPr>
        <p:spPr>
          <a:xfrm>
            <a:off x="10051045" y="3555903"/>
            <a:ext cx="8733573" cy="1000139"/>
          </a:xfrm>
          <a:prstGeom prst="rect">
            <a:avLst/>
          </a:prstGeom>
          <a:solidFill>
            <a:schemeClr val="accent1"/>
          </a:solidFill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316627" marR="0" lvl="0" indent="-31662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endParaRPr sz="2858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1629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9">
  <p:cSld name="Slide_9">
    <p:bg>
      <p:bgPr>
        <a:solidFill>
          <a:srgbClr val="FFFFFF"/>
        </a:solidFill>
        <a:effectLst/>
      </p:bgPr>
    </p:bg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24"/>
          <p:cNvSpPr txBox="1">
            <a:spLocks noGrp="1"/>
          </p:cNvSpPr>
          <p:nvPr>
            <p:ph type="title"/>
          </p:nvPr>
        </p:nvSpPr>
        <p:spPr>
          <a:xfrm>
            <a:off x="1319436" y="1186948"/>
            <a:ext cx="5824581" cy="8926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2" name="Google Shape;232;p24"/>
          <p:cNvSpPr txBox="1">
            <a:spLocks noGrp="1"/>
          </p:cNvSpPr>
          <p:nvPr>
            <p:ph type="subTitle" idx="1"/>
          </p:nvPr>
        </p:nvSpPr>
        <p:spPr>
          <a:xfrm>
            <a:off x="7144291" y="1201486"/>
            <a:ext cx="11634650" cy="1271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3" name="Google Shape;233;p24"/>
          <p:cNvSpPr/>
          <p:nvPr/>
        </p:nvSpPr>
        <p:spPr>
          <a:xfrm rot="-430255">
            <a:off x="-7723863" y="6870301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4" name="Google Shape;234;p24"/>
          <p:cNvCxnSpPr/>
          <p:nvPr/>
        </p:nvCxnSpPr>
        <p:spPr>
          <a:xfrm flipH="1">
            <a:off x="2609958" y="5655414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5" name="Google Shape;235;p24"/>
          <p:cNvSpPr/>
          <p:nvPr/>
        </p:nvSpPr>
        <p:spPr>
          <a:xfrm>
            <a:off x="3180432" y="7501317"/>
            <a:ext cx="622036" cy="622118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6" name="Google Shape;236;p24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7" name="Google Shape;237;p24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38" name="Google Shape;238;p24"/>
          <p:cNvPicPr preferRelativeResize="0"/>
          <p:nvPr/>
        </p:nvPicPr>
        <p:blipFill rotWithShape="1">
          <a:blip r:embed="rId2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39" name="Google Shape;239;p24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0" name="Google Shape;240;p24"/>
          <p:cNvSpPr txBox="1">
            <a:spLocks noGrp="1"/>
          </p:cNvSpPr>
          <p:nvPr>
            <p:ph type="body" idx="3"/>
          </p:nvPr>
        </p:nvSpPr>
        <p:spPr>
          <a:xfrm>
            <a:off x="7145226" y="6626195"/>
            <a:ext cx="5621413" cy="348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1" name="Google Shape;241;p24"/>
          <p:cNvSpPr txBox="1">
            <a:spLocks noGrp="1"/>
          </p:cNvSpPr>
          <p:nvPr>
            <p:ph type="title" idx="4"/>
          </p:nvPr>
        </p:nvSpPr>
        <p:spPr>
          <a:xfrm>
            <a:off x="7145226" y="5350403"/>
            <a:ext cx="5621413" cy="1044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858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2" name="Google Shape;242;p24"/>
          <p:cNvSpPr txBox="1">
            <a:spLocks noGrp="1"/>
          </p:cNvSpPr>
          <p:nvPr>
            <p:ph type="body" idx="5"/>
          </p:nvPr>
        </p:nvSpPr>
        <p:spPr>
          <a:xfrm>
            <a:off x="7256319" y="3023727"/>
            <a:ext cx="5401755" cy="2031945"/>
          </a:xfrm>
          <a:prstGeom prst="rect">
            <a:avLst/>
          </a:prstGeom>
          <a:solidFill>
            <a:srgbClr val="FFFFFF"/>
          </a:solidFill>
          <a:ln w="76200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3" name="Google Shape;243;p24"/>
          <p:cNvSpPr txBox="1">
            <a:spLocks noGrp="1"/>
          </p:cNvSpPr>
          <p:nvPr>
            <p:ph type="body" idx="6"/>
          </p:nvPr>
        </p:nvSpPr>
        <p:spPr>
          <a:xfrm>
            <a:off x="13160991" y="6646811"/>
            <a:ext cx="5621413" cy="3485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4" name="Google Shape;244;p24"/>
          <p:cNvSpPr txBox="1">
            <a:spLocks noGrp="1"/>
          </p:cNvSpPr>
          <p:nvPr>
            <p:ph type="title" idx="7"/>
          </p:nvPr>
        </p:nvSpPr>
        <p:spPr>
          <a:xfrm>
            <a:off x="13160991" y="5371019"/>
            <a:ext cx="5621413" cy="10443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858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5" name="Google Shape;245;p24"/>
          <p:cNvSpPr txBox="1">
            <a:spLocks noGrp="1"/>
          </p:cNvSpPr>
          <p:nvPr>
            <p:ph type="body" idx="8"/>
          </p:nvPr>
        </p:nvSpPr>
        <p:spPr>
          <a:xfrm>
            <a:off x="13249657" y="3044343"/>
            <a:ext cx="5437375" cy="2031945"/>
          </a:xfrm>
          <a:prstGeom prst="rect">
            <a:avLst/>
          </a:prstGeom>
          <a:solidFill>
            <a:srgbClr val="FFFFFF"/>
          </a:solidFill>
          <a:ln w="76200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2419" b="1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38621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1">
  <p:cSld name="Slide_11">
    <p:bg>
      <p:bgPr>
        <a:solidFill>
          <a:srgbClr val="FFFFFF"/>
        </a:solidFill>
        <a:effectLst/>
      </p:bgPr>
    </p:bg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Google Shape;266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356218" y="4691200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267" name="Google Shape;267;p26"/>
          <p:cNvSpPr/>
          <p:nvPr/>
        </p:nvSpPr>
        <p:spPr>
          <a:xfrm rot="-430255">
            <a:off x="11412876" y="-12666795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8" name="Google Shape;268;p26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9" name="Google Shape;269;p26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0" name="Google Shape;270;p26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1" name="Google Shape;271;p26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72" name="Google Shape;272;p26"/>
          <p:cNvPicPr preferRelativeResize="0"/>
          <p:nvPr/>
        </p:nvPicPr>
        <p:blipFill rotWithShape="1">
          <a:blip r:embed="rId3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26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4" name="Google Shape;274;p26"/>
          <p:cNvSpPr>
            <a:spLocks noGrp="1"/>
          </p:cNvSpPr>
          <p:nvPr>
            <p:ph type="pic" idx="3"/>
          </p:nvPr>
        </p:nvSpPr>
        <p:spPr>
          <a:xfrm>
            <a:off x="1344205" y="3797513"/>
            <a:ext cx="1816636" cy="1819514"/>
          </a:xfrm>
          <a:prstGeom prst="ellipse">
            <a:avLst/>
          </a:prstGeom>
          <a:solidFill>
            <a:srgbClr val="F3F3F3"/>
          </a:solidFill>
          <a:ln w="9525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5" name="Google Shape;275;p26"/>
          <p:cNvSpPr>
            <a:spLocks noGrp="1"/>
          </p:cNvSpPr>
          <p:nvPr>
            <p:ph type="pic" idx="4"/>
          </p:nvPr>
        </p:nvSpPr>
        <p:spPr>
          <a:xfrm>
            <a:off x="7152339" y="3814613"/>
            <a:ext cx="1816636" cy="1819514"/>
          </a:xfrm>
          <a:prstGeom prst="ellipse">
            <a:avLst/>
          </a:prstGeom>
          <a:solidFill>
            <a:srgbClr val="F3F3F3"/>
          </a:solidFill>
          <a:ln w="9525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6" name="Google Shape;276;p26"/>
          <p:cNvSpPr>
            <a:spLocks noGrp="1"/>
          </p:cNvSpPr>
          <p:nvPr>
            <p:ph type="pic" idx="5"/>
          </p:nvPr>
        </p:nvSpPr>
        <p:spPr>
          <a:xfrm>
            <a:off x="12960491" y="3839344"/>
            <a:ext cx="1816636" cy="1819514"/>
          </a:xfrm>
          <a:prstGeom prst="ellipse">
            <a:avLst/>
          </a:prstGeom>
          <a:solidFill>
            <a:srgbClr val="F3F3F3"/>
          </a:solidFill>
          <a:ln w="9525" cap="rnd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7" name="Google Shape;277;p26"/>
          <p:cNvSpPr txBox="1">
            <a:spLocks noGrp="1"/>
          </p:cNvSpPr>
          <p:nvPr>
            <p:ph type="body" idx="6"/>
          </p:nvPr>
        </p:nvSpPr>
        <p:spPr>
          <a:xfrm>
            <a:off x="1319436" y="5815535"/>
            <a:ext cx="5824581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8" name="Google Shape;278;p26"/>
          <p:cNvSpPr txBox="1">
            <a:spLocks noGrp="1"/>
          </p:cNvSpPr>
          <p:nvPr>
            <p:ph type="body" idx="7"/>
          </p:nvPr>
        </p:nvSpPr>
        <p:spPr>
          <a:xfrm>
            <a:off x="7164113" y="5815535"/>
            <a:ext cx="5824581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9" name="Google Shape;279;p26"/>
          <p:cNvSpPr txBox="1">
            <a:spLocks noGrp="1"/>
          </p:cNvSpPr>
          <p:nvPr>
            <p:ph type="body" idx="8"/>
          </p:nvPr>
        </p:nvSpPr>
        <p:spPr>
          <a:xfrm>
            <a:off x="12977619" y="5815535"/>
            <a:ext cx="5824581" cy="4298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5400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0" name="Google Shape;280;p26"/>
          <p:cNvSpPr txBox="1">
            <a:spLocks noGrp="1"/>
          </p:cNvSpPr>
          <p:nvPr>
            <p:ph type="body" idx="9"/>
          </p:nvPr>
        </p:nvSpPr>
        <p:spPr>
          <a:xfrm>
            <a:off x="3160912" y="3915014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1" name="Google Shape;281;p26"/>
          <p:cNvSpPr txBox="1">
            <a:spLocks noGrp="1"/>
          </p:cNvSpPr>
          <p:nvPr>
            <p:ph type="body" idx="13"/>
          </p:nvPr>
        </p:nvSpPr>
        <p:spPr>
          <a:xfrm>
            <a:off x="3160912" y="4796359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2" name="Google Shape;282;p26"/>
          <p:cNvSpPr txBox="1">
            <a:spLocks noGrp="1"/>
          </p:cNvSpPr>
          <p:nvPr>
            <p:ph type="body" idx="14"/>
          </p:nvPr>
        </p:nvSpPr>
        <p:spPr>
          <a:xfrm>
            <a:off x="8969063" y="3915014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3" name="Google Shape;283;p26"/>
          <p:cNvSpPr txBox="1">
            <a:spLocks noGrp="1"/>
          </p:cNvSpPr>
          <p:nvPr>
            <p:ph type="body" idx="15"/>
          </p:nvPr>
        </p:nvSpPr>
        <p:spPr>
          <a:xfrm>
            <a:off x="8969063" y="4796359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4" name="Google Shape;284;p26"/>
          <p:cNvSpPr txBox="1">
            <a:spLocks noGrp="1"/>
          </p:cNvSpPr>
          <p:nvPr>
            <p:ph type="body" idx="16"/>
          </p:nvPr>
        </p:nvSpPr>
        <p:spPr>
          <a:xfrm>
            <a:off x="14777215" y="3915014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5" name="Google Shape;285;p26"/>
          <p:cNvSpPr txBox="1">
            <a:spLocks noGrp="1"/>
          </p:cNvSpPr>
          <p:nvPr>
            <p:ph type="body" idx="17"/>
          </p:nvPr>
        </p:nvSpPr>
        <p:spPr>
          <a:xfrm>
            <a:off x="14777215" y="4796359"/>
            <a:ext cx="3790265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762561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3">
  <p:cSld name="Slide_13">
    <p:bg>
      <p:bgPr>
        <a:solidFill>
          <a:srgbClr val="FFFFFF"/>
        </a:solidFill>
        <a:effectLst/>
      </p:bgPr>
    </p:bg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p27"/>
          <p:cNvSpPr txBox="1">
            <a:spLocks noGrp="1"/>
          </p:cNvSpPr>
          <p:nvPr>
            <p:ph type="body" idx="1"/>
          </p:nvPr>
        </p:nvSpPr>
        <p:spPr>
          <a:xfrm>
            <a:off x="10052844" y="1186950"/>
            <a:ext cx="8725658" cy="89267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8" name="Google Shape;288;p27"/>
          <p:cNvSpPr txBox="1">
            <a:spLocks noGrp="1"/>
          </p:cNvSpPr>
          <p:nvPr>
            <p:ph type="body" idx="2"/>
          </p:nvPr>
        </p:nvSpPr>
        <p:spPr>
          <a:xfrm>
            <a:off x="1318404" y="1186950"/>
            <a:ext cx="8725658" cy="89267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639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89" name="Google Shape;289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408846" y="5011374"/>
            <a:ext cx="1288022" cy="1288191"/>
          </a:xfrm>
          <a:prstGeom prst="rect">
            <a:avLst/>
          </a:prstGeom>
          <a:noFill/>
          <a:ln>
            <a:noFill/>
          </a:ln>
        </p:spPr>
      </p:pic>
      <p:sp>
        <p:nvSpPr>
          <p:cNvPr id="290" name="Google Shape;290;p27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1" name="Google Shape;291;p27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2" name="Google Shape;292;p27"/>
          <p:cNvPicPr preferRelativeResize="0"/>
          <p:nvPr/>
        </p:nvPicPr>
        <p:blipFill rotWithShape="1">
          <a:blip r:embed="rId3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293" name="Google Shape;293;p27"/>
          <p:cNvSpPr txBox="1">
            <a:spLocks noGrp="1"/>
          </p:cNvSpPr>
          <p:nvPr>
            <p:ph type="body" idx="3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20050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4">
  <p:cSld name="Slide_14">
    <p:bg>
      <p:bgPr>
        <a:solidFill>
          <a:srgbClr val="FFFFFF"/>
        </a:solidFill>
        <a:effectLst/>
      </p:bgPr>
    </p:bg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p28"/>
          <p:cNvSpPr txBox="1">
            <a:spLocks noGrp="1"/>
          </p:cNvSpPr>
          <p:nvPr>
            <p:ph type="body" idx="1"/>
          </p:nvPr>
        </p:nvSpPr>
        <p:spPr>
          <a:xfrm>
            <a:off x="12968404" y="3709772"/>
            <a:ext cx="5812048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54000" bIns="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6" name="Google Shape;296;p28"/>
          <p:cNvSpPr txBox="1">
            <a:spLocks noGrp="1"/>
          </p:cNvSpPr>
          <p:nvPr>
            <p:ph type="body" idx="2"/>
          </p:nvPr>
        </p:nvSpPr>
        <p:spPr>
          <a:xfrm>
            <a:off x="7151323" y="3709772"/>
            <a:ext cx="5802813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54000" bIns="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7" name="Google Shape;297;p28"/>
          <p:cNvSpPr txBox="1">
            <a:spLocks noGrp="1"/>
          </p:cNvSpPr>
          <p:nvPr>
            <p:ph type="body" idx="3"/>
          </p:nvPr>
        </p:nvSpPr>
        <p:spPr>
          <a:xfrm>
            <a:off x="1334242" y="3709772"/>
            <a:ext cx="5802813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4000" tIns="0" rIns="54000" bIns="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98" name="Google Shape;298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500294" y="6184361"/>
            <a:ext cx="1288022" cy="12881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99" name="Google Shape;299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317437" y="6283852"/>
            <a:ext cx="1288020" cy="1089201"/>
          </a:xfrm>
          <a:prstGeom prst="rect">
            <a:avLst/>
          </a:prstGeom>
          <a:noFill/>
          <a:ln>
            <a:noFill/>
          </a:ln>
        </p:spPr>
      </p:pic>
      <p:sp>
        <p:nvSpPr>
          <p:cNvPr id="300" name="Google Shape;300;p28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1" name="Google Shape;301;p28"/>
          <p:cNvSpPr txBox="1">
            <a:spLocks noGrp="1"/>
          </p:cNvSpPr>
          <p:nvPr>
            <p:ph type="subTitle" idx="4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2" name="Google Shape;302;p28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3" name="Google Shape;303;p28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4" name="Google Shape;304;p28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305" name="Google Shape;305;p28"/>
          <p:cNvSpPr txBox="1">
            <a:spLocks noGrp="1"/>
          </p:cNvSpPr>
          <p:nvPr>
            <p:ph type="body" idx="5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638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77">
          <p15:clr>
            <a:srgbClr val="FA7B17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5">
  <p:cSld name="Slide_15">
    <p:bg>
      <p:bgPr>
        <a:solidFill>
          <a:srgbClr val="FFFFFF"/>
        </a:solidFill>
        <a:effectLst/>
      </p:bgPr>
    </p:bg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29"/>
          <p:cNvSpPr/>
          <p:nvPr/>
        </p:nvSpPr>
        <p:spPr>
          <a:xfrm>
            <a:off x="10052844" y="-125677"/>
            <a:ext cx="10429496" cy="116045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50782" tIns="75363" rIns="150782" bIns="7536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8" name="Google Shape;308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-5400000">
            <a:off x="9408991" y="6456442"/>
            <a:ext cx="1287707" cy="894127"/>
          </a:xfrm>
          <a:prstGeom prst="rect">
            <a:avLst/>
          </a:prstGeom>
          <a:noFill/>
          <a:ln>
            <a:noFill/>
          </a:ln>
        </p:spPr>
      </p:pic>
      <p:sp>
        <p:nvSpPr>
          <p:cNvPr id="309" name="Google Shape;309;p29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0" name="Google Shape;310;p29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1" name="Google Shape;311;p29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2" name="Google Shape;312;p29"/>
          <p:cNvPicPr preferRelativeResize="0"/>
          <p:nvPr/>
        </p:nvPicPr>
        <p:blipFill rotWithShape="1">
          <a:blip r:embed="rId3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313" name="Google Shape;313;p29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4" name="Google Shape;314;p29"/>
          <p:cNvSpPr txBox="1">
            <a:spLocks noGrp="1"/>
          </p:cNvSpPr>
          <p:nvPr>
            <p:ph type="body" idx="3"/>
          </p:nvPr>
        </p:nvSpPr>
        <p:spPr>
          <a:xfrm>
            <a:off x="1326417" y="3693288"/>
            <a:ext cx="8726317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72000" bIns="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5" name="Google Shape;315;p29"/>
          <p:cNvSpPr txBox="1">
            <a:spLocks noGrp="1"/>
          </p:cNvSpPr>
          <p:nvPr>
            <p:ph type="body" idx="4"/>
          </p:nvPr>
        </p:nvSpPr>
        <p:spPr>
          <a:xfrm>
            <a:off x="10052844" y="3693288"/>
            <a:ext cx="8728956" cy="6420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72000" bIns="0" anchor="ctr" anchorCtr="0">
            <a:noAutofit/>
          </a:bodyPr>
          <a:lstStyle>
            <a:lvl1pPr marL="1005291" marR="0" lvl="0" indent="-50264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" name="Google Shape;316;p29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07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86A929-0DCC-DD44-93FB-EDDC7B487F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5B1DAF-8B58-324D-99FE-475E463475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7687" y="3910013"/>
            <a:ext cx="17427576" cy="1128514"/>
          </a:xfrm>
        </p:spPr>
        <p:txBody>
          <a:bodyPr numCol="2" spcCol="540000"/>
          <a:lstStyle>
            <a:lvl1pPr marL="0" marR="0" indent="0" algn="l" defTabSz="1507937" rtl="0" eaLnBrk="1" fontAlgn="auto" latinLnBrk="0" hangingPunct="1">
              <a:lnSpc>
                <a:spcPct val="90000"/>
              </a:lnSpc>
              <a:spcBef>
                <a:spcPts val="1649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1" i="0">
                <a:solidFill>
                  <a:srgbClr val="1266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defRPr sz="2800" spc="0"/>
            </a:lvl2pPr>
          </a:lstStyle>
          <a:p>
            <a:pPr lvl="0"/>
            <a:r>
              <a:rPr lang="en-GB"/>
              <a:t>Click to edit Master text style</a:t>
            </a:r>
          </a:p>
          <a:p>
            <a:pPr marL="753969" marR="0" lvl="1" indent="0" algn="l" defTabSz="1507937" rtl="0" eaLnBrk="1" fontAlgn="auto" latinLnBrk="0" hangingPunct="1">
              <a:lnSpc>
                <a:spcPct val="90000"/>
              </a:lnSpc>
              <a:spcBef>
                <a:spcPts val="1649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GB"/>
              <a:t>Click to edit Master text style 2</a:t>
            </a:r>
          </a:p>
        </p:txBody>
      </p:sp>
    </p:spTree>
    <p:extLst>
      <p:ext uri="{BB962C8B-B14F-4D97-AF65-F5344CB8AC3E}">
        <p14:creationId xmlns:p14="http://schemas.microsoft.com/office/powerpoint/2010/main" val="4105065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  <p15:guide id="9" pos="6154" userDrawn="1">
          <p15:clr>
            <a:srgbClr val="FBAE40"/>
          </p15:clr>
        </p15:guide>
        <p15:guide id="10" pos="6330" userDrawn="1">
          <p15:clr>
            <a:srgbClr val="FBAE40"/>
          </p15:clr>
        </p15:guide>
        <p15:guide id="11" pos="6511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6">
  <p:cSld name="Slide_16">
    <p:bg>
      <p:bgPr>
        <a:solidFill>
          <a:srgbClr val="FFFFFF"/>
        </a:solidFill>
        <a:effectLst/>
      </p:bgPr>
    </p:bg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8" name="Google Shape;31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052847" y="-366557"/>
            <a:ext cx="10503703" cy="12044052"/>
          </a:xfrm>
          <a:prstGeom prst="rect">
            <a:avLst/>
          </a:prstGeom>
          <a:noFill/>
          <a:ln>
            <a:noFill/>
          </a:ln>
        </p:spPr>
      </p:pic>
      <p:sp>
        <p:nvSpPr>
          <p:cNvPr id="319" name="Google Shape;319;p30"/>
          <p:cNvSpPr txBox="1">
            <a:spLocks noGrp="1"/>
          </p:cNvSpPr>
          <p:nvPr>
            <p:ph type="title"/>
          </p:nvPr>
        </p:nvSpPr>
        <p:spPr>
          <a:xfrm>
            <a:off x="1326966" y="1186400"/>
            <a:ext cx="8725658" cy="8927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sz="7256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0" name="Google Shape;320;p30"/>
          <p:cNvSpPr/>
          <p:nvPr/>
        </p:nvSpPr>
        <p:spPr>
          <a:xfrm rot="341919">
            <a:off x="-164998" y="6029943"/>
            <a:ext cx="15113059" cy="14102016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21" name="Google Shape;321;p30"/>
          <p:cNvCxnSpPr/>
          <p:nvPr/>
        </p:nvCxnSpPr>
        <p:spPr>
          <a:xfrm flipH="1">
            <a:off x="13713491" y="1675695"/>
            <a:ext cx="7858237" cy="7540625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2" name="Google Shape;322;p30"/>
          <p:cNvSpPr/>
          <p:nvPr/>
        </p:nvSpPr>
        <p:spPr>
          <a:xfrm rot="772297">
            <a:off x="13440155" y="8952051"/>
            <a:ext cx="621830" cy="621911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3" name="Google Shape;323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41597" y="4421290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324" name="Google Shape;324;p30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p30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26" name="Google Shape;326;p30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327" name="Google Shape;327;p30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19440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6bis">
  <p:cSld name="Slide_16bis">
    <p:bg>
      <p:bgPr>
        <a:solidFill>
          <a:schemeClr val="dk1"/>
        </a:solidFill>
        <a:effectLst/>
      </p:bgPr>
    </p:bg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9" name="Google Shape;329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052847" y="-366557"/>
            <a:ext cx="10503703" cy="12044052"/>
          </a:xfrm>
          <a:prstGeom prst="rect">
            <a:avLst/>
          </a:prstGeom>
          <a:noFill/>
          <a:ln>
            <a:noFill/>
          </a:ln>
        </p:spPr>
      </p:pic>
      <p:sp>
        <p:nvSpPr>
          <p:cNvPr id="330" name="Google Shape;330;p31"/>
          <p:cNvSpPr/>
          <p:nvPr/>
        </p:nvSpPr>
        <p:spPr>
          <a:xfrm rot="341919">
            <a:off x="-165154" y="6029927"/>
            <a:ext cx="15113059" cy="14102016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1" name="Google Shape;331;p31"/>
          <p:cNvSpPr txBox="1">
            <a:spLocks noGrp="1"/>
          </p:cNvSpPr>
          <p:nvPr>
            <p:ph type="title"/>
          </p:nvPr>
        </p:nvSpPr>
        <p:spPr>
          <a:xfrm>
            <a:off x="1326966" y="1186400"/>
            <a:ext cx="8725658" cy="8927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300"/>
              <a:buFont typeface="Arial"/>
              <a:buNone/>
              <a:defRPr sz="7256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32" name="Google Shape;332;p31"/>
          <p:cNvCxnSpPr/>
          <p:nvPr/>
        </p:nvCxnSpPr>
        <p:spPr>
          <a:xfrm flipH="1">
            <a:off x="13713491" y="1675695"/>
            <a:ext cx="7858237" cy="7540625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33" name="Google Shape;333;p31"/>
          <p:cNvSpPr/>
          <p:nvPr/>
        </p:nvSpPr>
        <p:spPr>
          <a:xfrm rot="772297">
            <a:off x="13440155" y="8952051"/>
            <a:ext cx="621830" cy="621911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4" name="Google Shape;334;p3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41597" y="4421290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335" name="Google Shape;335;p31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31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7" name="Google Shape;337;p31"/>
          <p:cNvPicPr preferRelativeResize="0"/>
          <p:nvPr/>
        </p:nvPicPr>
        <p:blipFill rotWithShape="1">
          <a:blip r:embed="rId4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338" name="Google Shape;338;p31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32814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7bis">
  <p:cSld name="Slide_17bis">
    <p:bg>
      <p:bgPr>
        <a:solidFill>
          <a:schemeClr val="dk1"/>
        </a:solidFill>
        <a:effectLst/>
      </p:bgPr>
    </p:bg>
    <p:spTree>
      <p:nvGrpSpPr>
        <p:cNvPr id="1" name="Shape 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1" name="Google Shape;351;p33"/>
          <p:cNvPicPr preferRelativeResize="0"/>
          <p:nvPr/>
        </p:nvPicPr>
        <p:blipFill rotWithShape="1">
          <a:blip r:embed="rId2">
            <a:alphaModFix/>
          </a:blip>
          <a:srcRect l="46807" t="2717" r="8003" b="1260"/>
          <a:stretch/>
        </p:blipFill>
        <p:spPr>
          <a:xfrm>
            <a:off x="-450861" y="-52365"/>
            <a:ext cx="10503709" cy="11415667"/>
          </a:xfrm>
          <a:prstGeom prst="rect">
            <a:avLst/>
          </a:prstGeom>
          <a:noFill/>
          <a:ln>
            <a:noFill/>
          </a:ln>
        </p:spPr>
      </p:pic>
      <p:sp>
        <p:nvSpPr>
          <p:cNvPr id="352" name="Google Shape;352;p33"/>
          <p:cNvSpPr txBox="1">
            <a:spLocks noGrp="1"/>
          </p:cNvSpPr>
          <p:nvPr>
            <p:ph type="title"/>
          </p:nvPr>
        </p:nvSpPr>
        <p:spPr>
          <a:xfrm>
            <a:off x="10052844" y="1186070"/>
            <a:ext cx="9086478" cy="8927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00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300"/>
              <a:buFont typeface="Arial"/>
              <a:buNone/>
              <a:defRPr sz="7256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353" name="Google Shape;353;p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37767" y="8336577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354" name="Google Shape;354;p33"/>
          <p:cNvSpPr/>
          <p:nvPr/>
        </p:nvSpPr>
        <p:spPr>
          <a:xfrm rot="341919">
            <a:off x="-3109135" y="-9741393"/>
            <a:ext cx="15113059" cy="14102016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55" name="Google Shape;355;p33"/>
          <p:cNvCxnSpPr/>
          <p:nvPr/>
        </p:nvCxnSpPr>
        <p:spPr>
          <a:xfrm flipH="1">
            <a:off x="-1844422" y="2876719"/>
            <a:ext cx="7858237" cy="7540625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6" name="Google Shape;356;p33"/>
          <p:cNvSpPr/>
          <p:nvPr/>
        </p:nvSpPr>
        <p:spPr>
          <a:xfrm rot="772297">
            <a:off x="4136793" y="4048775"/>
            <a:ext cx="621830" cy="621911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7" name="Google Shape;357;p33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8" name="Google Shape;358;p33"/>
          <p:cNvSpPr txBox="1"/>
          <p:nvPr/>
        </p:nvSpPr>
        <p:spPr>
          <a:xfrm>
            <a:off x="13266590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59" name="Google Shape;359;p33"/>
          <p:cNvPicPr preferRelativeResize="0"/>
          <p:nvPr/>
        </p:nvPicPr>
        <p:blipFill rotWithShape="1">
          <a:blip r:embed="rId4">
            <a:alphaModFix/>
          </a:blip>
          <a:srcRect t="25110" b="25105"/>
          <a:stretch/>
        </p:blipFill>
        <p:spPr>
          <a:xfrm>
            <a:off x="10516954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360" name="Google Shape;360;p33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06383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8">
  <p:cSld name="Slide_18">
    <p:bg>
      <p:bgPr>
        <a:solidFill>
          <a:srgbClr val="FFFFFF"/>
        </a:solidFill>
        <a:effectLst/>
      </p:bgPr>
    </p:bg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" name="Google Shape;362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67547" y="-216140"/>
            <a:ext cx="10241337" cy="11743223"/>
          </a:xfrm>
          <a:prstGeom prst="rect">
            <a:avLst/>
          </a:prstGeom>
          <a:noFill/>
          <a:ln>
            <a:noFill/>
          </a:ln>
        </p:spPr>
      </p:pic>
      <p:sp>
        <p:nvSpPr>
          <p:cNvPr id="363" name="Google Shape;363;p34"/>
          <p:cNvSpPr txBox="1">
            <a:spLocks noGrp="1"/>
          </p:cNvSpPr>
          <p:nvPr>
            <p:ph type="title"/>
          </p:nvPr>
        </p:nvSpPr>
        <p:spPr>
          <a:xfrm>
            <a:off x="10052844" y="1152040"/>
            <a:ext cx="8727636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00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4" name="Google Shape;364;p34"/>
          <p:cNvSpPr txBox="1">
            <a:spLocks noGrp="1"/>
          </p:cNvSpPr>
          <p:nvPr>
            <p:ph type="subTitle" idx="1"/>
          </p:nvPr>
        </p:nvSpPr>
        <p:spPr>
          <a:xfrm>
            <a:off x="10054713" y="2561866"/>
            <a:ext cx="8727636" cy="7551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000" tIns="0" rIns="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5" name="Google Shape;365;p34"/>
          <p:cNvSpPr/>
          <p:nvPr/>
        </p:nvSpPr>
        <p:spPr>
          <a:xfrm rot="341919">
            <a:off x="-3073577" y="-10448620"/>
            <a:ext cx="15113059" cy="14810718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66" name="Google Shape;366;p34"/>
          <p:cNvCxnSpPr/>
          <p:nvPr/>
        </p:nvCxnSpPr>
        <p:spPr>
          <a:xfrm flipH="1">
            <a:off x="-1733493" y="7436994"/>
            <a:ext cx="7858237" cy="7540625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7" name="Google Shape;367;p34"/>
          <p:cNvSpPr/>
          <p:nvPr/>
        </p:nvSpPr>
        <p:spPr>
          <a:xfrm rot="772297">
            <a:off x="7368073" y="3330667"/>
            <a:ext cx="621830" cy="621911"/>
          </a:xfrm>
          <a:prstGeom prst="ellipse">
            <a:avLst/>
          </a:prstGeom>
          <a:solidFill>
            <a:schemeClr val="dk2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8" name="Google Shape;368;p3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37767" y="8336577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369" name="Google Shape;369;p34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0" name="Google Shape;370;p34"/>
          <p:cNvSpPr txBox="1"/>
          <p:nvPr/>
        </p:nvSpPr>
        <p:spPr>
          <a:xfrm>
            <a:off x="13266590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71" name="Google Shape;371;p34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10516954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372" name="Google Shape;372;p34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212304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19">
  <p:cSld name="Slide_19">
    <p:bg>
      <p:bgPr>
        <a:solidFill>
          <a:srgbClr val="FFFFFF"/>
        </a:solidFill>
        <a:effectLst/>
      </p:bgPr>
    </p:bg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4" name="Google Shape;374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052846" y="-306138"/>
            <a:ext cx="10486611" cy="11923213"/>
          </a:xfrm>
          <a:prstGeom prst="rect">
            <a:avLst/>
          </a:prstGeom>
          <a:noFill/>
          <a:ln>
            <a:noFill/>
          </a:ln>
        </p:spPr>
      </p:pic>
      <p:sp>
        <p:nvSpPr>
          <p:cNvPr id="375" name="Google Shape;375;p35"/>
          <p:cNvSpPr/>
          <p:nvPr/>
        </p:nvSpPr>
        <p:spPr>
          <a:xfrm rot="341919">
            <a:off x="-164998" y="6029943"/>
            <a:ext cx="15113059" cy="14102016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76" name="Google Shape;376;p35"/>
          <p:cNvCxnSpPr/>
          <p:nvPr/>
        </p:nvCxnSpPr>
        <p:spPr>
          <a:xfrm flipH="1">
            <a:off x="13713491" y="1675695"/>
            <a:ext cx="7858237" cy="7540625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7" name="Google Shape;377;p35"/>
          <p:cNvSpPr/>
          <p:nvPr/>
        </p:nvSpPr>
        <p:spPr>
          <a:xfrm rot="772297">
            <a:off x="13440155" y="8952051"/>
            <a:ext cx="621830" cy="621911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78" name="Google Shape;378;p3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41597" y="4421290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379" name="Google Shape;379;p35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8731594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4200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0" name="Google Shape;380;p35"/>
          <p:cNvSpPr txBox="1">
            <a:spLocks noGrp="1"/>
          </p:cNvSpPr>
          <p:nvPr>
            <p:ph type="subTitle" idx="1"/>
          </p:nvPr>
        </p:nvSpPr>
        <p:spPr>
          <a:xfrm>
            <a:off x="1321360" y="2561867"/>
            <a:ext cx="8731594" cy="7540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42000" bIns="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1" name="Google Shape;381;p35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35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83" name="Google Shape;383;p35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384" name="Google Shape;384;p35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93168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_EN">
  <p:cSld name="End_EN">
    <p:bg>
      <p:bgPr>
        <a:solidFill>
          <a:srgbClr val="FFFFFF"/>
        </a:solidFill>
        <a:effectLst/>
      </p:bgPr>
    </p:bg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" name="Google Shape;398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961671" y="-567820"/>
            <a:ext cx="7201900" cy="12446586"/>
          </a:xfrm>
          <a:prstGeom prst="rect">
            <a:avLst/>
          </a:prstGeom>
          <a:noFill/>
          <a:ln>
            <a:noFill/>
          </a:ln>
        </p:spPr>
      </p:pic>
      <p:sp>
        <p:nvSpPr>
          <p:cNvPr id="400" name="Google Shape;400;p37"/>
          <p:cNvSpPr/>
          <p:nvPr/>
        </p:nvSpPr>
        <p:spPr>
          <a:xfrm>
            <a:off x="1326417" y="8362815"/>
            <a:ext cx="8023146" cy="1298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Follow us on </a:t>
            </a:r>
            <a:r>
              <a:rPr lang="en-GB" sz="197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inkedIn</a:t>
            </a:r>
            <a:r>
              <a:rPr lang="en-GB" sz="1979" b="0" i="0" u="none" strike="noStrike" cap="none">
                <a:solidFill>
                  <a:srgbClr val="75707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-GB" sz="1979" b="0" i="0" u="none" strike="noStrike" cap="none">
                <a:solidFill>
                  <a:srgbClr val="75707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197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witter @SiaPartners</a:t>
            </a:r>
            <a:br>
              <a:rPr lang="en-GB" sz="1979" b="1" i="0" u="none" strike="noStrike" cap="none">
                <a:solidFill>
                  <a:srgbClr val="660033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For more information, visit:</a:t>
            </a:r>
            <a:endParaRPr sz="241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97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37">
            <a:hlinkClick r:id="rId3"/>
          </p:cNvPr>
          <p:cNvSpPr/>
          <p:nvPr/>
        </p:nvSpPr>
        <p:spPr>
          <a:xfrm>
            <a:off x="1326969" y="9325339"/>
            <a:ext cx="3478258" cy="798924"/>
          </a:xfrm>
          <a:prstGeom prst="roundRect">
            <a:avLst>
              <a:gd name="adj" fmla="val 50000"/>
            </a:avLst>
          </a:prstGeom>
          <a:solidFill>
            <a:srgbClr val="14E9B6"/>
          </a:solidFill>
          <a:ln w="12700" cap="flat" cmpd="sng">
            <a:solidFill>
              <a:srgbClr val="14E9B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782" tIns="75363" rIns="150782" bIns="7536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n-GB" sz="1979" b="1" i="0" u="none" strike="noStrike" cap="none">
                <a:solidFill>
                  <a:schemeClr val="hlink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/>
              </a:rPr>
              <a:t>sia-partners.com</a:t>
            </a:r>
            <a:endParaRPr sz="197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2" name="Google Shape;402;p37"/>
          <p:cNvSpPr/>
          <p:nvPr/>
        </p:nvSpPr>
        <p:spPr>
          <a:xfrm>
            <a:off x="1326417" y="10853091"/>
            <a:ext cx="4971013" cy="304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-GB" sz="1099" b="1" i="1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*Sia Partners Panama, a Sia Partners member firm </a:t>
            </a:r>
            <a:endParaRPr sz="241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endParaRPr sz="1099" b="1" i="1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3" name="Google Shape;403;p37"/>
          <p:cNvSpPr/>
          <p:nvPr/>
        </p:nvSpPr>
        <p:spPr>
          <a:xfrm>
            <a:off x="10432629" y="153056"/>
            <a:ext cx="2529042" cy="11004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82" tIns="75363" rIns="150782" bIns="75363" anchor="t" anchorCtr="0">
            <a:noAutofit/>
          </a:bodyPr>
          <a:lstStyle/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Abu Dhabi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Amsterdam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Baltimor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Brussels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asablanc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harlott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hicago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enver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oh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ubai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ubli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Edinburgh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Frankfurt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Greater Bay Are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ambur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ong Kon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oust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ond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uxembour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y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Mila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Montreal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New York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Panama City*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Paris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Riyadh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Rom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Seattl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Singapor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okyo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oronto 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4" name="Google Shape;404;p3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30352" y="8362746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Google Shape;405;p37"/>
          <p:cNvSpPr/>
          <p:nvPr/>
        </p:nvSpPr>
        <p:spPr>
          <a:xfrm rot="-430255">
            <a:off x="9868289" y="-6374461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6" name="Google Shape;406;p37"/>
          <p:cNvCxnSpPr/>
          <p:nvPr/>
        </p:nvCxnSpPr>
        <p:spPr>
          <a:xfrm flipH="1">
            <a:off x="14753351" y="6193197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07" name="Google Shape;407;p37"/>
          <p:cNvSpPr/>
          <p:nvPr/>
        </p:nvSpPr>
        <p:spPr>
          <a:xfrm>
            <a:off x="15187666" y="8184349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8" name="Google Shape;408;p37"/>
          <p:cNvPicPr preferRelativeResize="0"/>
          <p:nvPr/>
        </p:nvPicPr>
        <p:blipFill rotWithShape="1">
          <a:blip r:embed="rId6">
            <a:alphaModFix/>
          </a:blip>
          <a:srcRect t="298" b="308"/>
          <a:stretch/>
        </p:blipFill>
        <p:spPr>
          <a:xfrm>
            <a:off x="1340270" y="1240967"/>
            <a:ext cx="4060881" cy="4704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7870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_EN">
  <p:cSld name="End_EN">
    <p:bg>
      <p:bgPr>
        <a:solidFill>
          <a:srgbClr val="FFFFFF"/>
        </a:solidFill>
        <a:effectLst/>
      </p:bgPr>
    </p:bg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" name="Google Shape;398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2961671" y="-567820"/>
            <a:ext cx="7201900" cy="12446586"/>
          </a:xfrm>
          <a:prstGeom prst="rect">
            <a:avLst/>
          </a:prstGeom>
          <a:noFill/>
          <a:ln>
            <a:noFill/>
          </a:ln>
        </p:spPr>
      </p:pic>
      <p:sp>
        <p:nvSpPr>
          <p:cNvPr id="400" name="Google Shape;400;p37"/>
          <p:cNvSpPr/>
          <p:nvPr/>
        </p:nvSpPr>
        <p:spPr>
          <a:xfrm>
            <a:off x="1326417" y="8362815"/>
            <a:ext cx="8023146" cy="1298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Follow us on </a:t>
            </a:r>
            <a:r>
              <a:rPr lang="en-GB" sz="197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inkedIn</a:t>
            </a:r>
            <a:r>
              <a:rPr lang="en-GB" sz="1979" b="0" i="0" u="none" strike="noStrike" cap="none">
                <a:solidFill>
                  <a:srgbClr val="75707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and</a:t>
            </a:r>
            <a:r>
              <a:rPr lang="en-GB" sz="1979" b="0" i="0" u="none" strike="noStrike" cap="none">
                <a:solidFill>
                  <a:srgbClr val="75707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197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witter @SiaPartners</a:t>
            </a:r>
            <a:br>
              <a:rPr lang="en-GB" sz="1979" b="1" i="0" u="none" strike="noStrike" cap="none">
                <a:solidFill>
                  <a:srgbClr val="660033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GB" sz="197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For more information, visit:</a:t>
            </a:r>
            <a:endParaRPr sz="241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97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1" name="Google Shape;401;p37">
            <a:hlinkClick r:id="rId3"/>
          </p:cNvPr>
          <p:cNvSpPr/>
          <p:nvPr/>
        </p:nvSpPr>
        <p:spPr>
          <a:xfrm>
            <a:off x="1326969" y="9325339"/>
            <a:ext cx="3478258" cy="798924"/>
          </a:xfrm>
          <a:prstGeom prst="roundRect">
            <a:avLst>
              <a:gd name="adj" fmla="val 50000"/>
            </a:avLst>
          </a:prstGeom>
          <a:solidFill>
            <a:srgbClr val="14E9B6"/>
          </a:solidFill>
          <a:ln w="12700" cap="flat" cmpd="sng">
            <a:solidFill>
              <a:srgbClr val="14E9B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50782" tIns="75363" rIns="150782" bIns="7536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00"/>
              <a:buFont typeface="Arial"/>
              <a:buNone/>
            </a:pPr>
            <a:r>
              <a:rPr lang="en-GB" sz="1979" b="1" i="0" u="none" strike="noStrike" cap="none">
                <a:solidFill>
                  <a:schemeClr val="hlink"/>
                </a:solidFill>
                <a:uFill>
                  <a:noFill/>
                </a:uFill>
                <a:latin typeface="Arial"/>
                <a:ea typeface="Arial"/>
                <a:cs typeface="Arial"/>
                <a:sym typeface="Arial"/>
                <a:hlinkClick r:id="rId4"/>
              </a:rPr>
              <a:t>sia-partners.com</a:t>
            </a:r>
            <a:endParaRPr sz="197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2" name="Google Shape;402;p37"/>
          <p:cNvSpPr/>
          <p:nvPr/>
        </p:nvSpPr>
        <p:spPr>
          <a:xfrm>
            <a:off x="1326417" y="10853091"/>
            <a:ext cx="4971013" cy="304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r>
              <a:rPr lang="en-GB" sz="1099" b="1" i="1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*Sia Partners Panama, a Sia Partners member firm </a:t>
            </a:r>
            <a:endParaRPr sz="2419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"/>
              <a:buFont typeface="Arial"/>
              <a:buNone/>
            </a:pPr>
            <a:endParaRPr sz="1099" b="1" i="1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3" name="Google Shape;403;p37"/>
          <p:cNvSpPr/>
          <p:nvPr/>
        </p:nvSpPr>
        <p:spPr>
          <a:xfrm>
            <a:off x="10432629" y="153056"/>
            <a:ext cx="2529042" cy="11004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0782" tIns="75363" rIns="150782" bIns="75363" anchor="t" anchorCtr="0">
            <a:noAutofit/>
          </a:bodyPr>
          <a:lstStyle/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Abu Dhabi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Amsterdam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Baltimor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Brussels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asablanc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harlott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Chicago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enver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oh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ubai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Dubli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Edinburgh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Frankfurt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Greater Bay Area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ambur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ong Kon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Houst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ond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uxembourg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Lyo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Milan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Montreal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New York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Panama City*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Paris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Riyadh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Rom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Seattl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Singapore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okyo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GB" sz="153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t>Toronto </a:t>
            </a: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1539" b="1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4" name="Google Shape;404;p3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30352" y="8362746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405" name="Google Shape;405;p37"/>
          <p:cNvSpPr/>
          <p:nvPr/>
        </p:nvSpPr>
        <p:spPr>
          <a:xfrm rot="-430255">
            <a:off x="9868289" y="-6374461"/>
            <a:ext cx="15113044" cy="15121661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06" name="Google Shape;406;p37"/>
          <p:cNvCxnSpPr/>
          <p:nvPr/>
        </p:nvCxnSpPr>
        <p:spPr>
          <a:xfrm flipH="1">
            <a:off x="14753351" y="6193197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07" name="Google Shape;407;p37"/>
          <p:cNvSpPr/>
          <p:nvPr/>
        </p:nvSpPr>
        <p:spPr>
          <a:xfrm>
            <a:off x="15187666" y="8184349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08" name="Google Shape;408;p37"/>
          <p:cNvPicPr preferRelativeResize="0"/>
          <p:nvPr/>
        </p:nvPicPr>
        <p:blipFill rotWithShape="1">
          <a:blip r:embed="rId6">
            <a:alphaModFix/>
          </a:blip>
          <a:srcRect t="298" b="308"/>
          <a:stretch/>
        </p:blipFill>
        <p:spPr>
          <a:xfrm>
            <a:off x="1340270" y="1240967"/>
            <a:ext cx="4060881" cy="470437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49589B-CF9B-4FB4-80A0-0F9F0417850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68237" y="5493007"/>
            <a:ext cx="2417285" cy="254112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2F9635F-2FAC-43BF-A252-920C1725DF4E}"/>
              </a:ext>
            </a:extLst>
          </p:cNvPr>
          <p:cNvSpPr txBox="1"/>
          <p:nvPr userDrawn="1"/>
        </p:nvSpPr>
        <p:spPr>
          <a:xfrm>
            <a:off x="1144228" y="3269649"/>
            <a:ext cx="2451312" cy="701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58" i="1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  <a:r>
              <a:rPr lang="en-US" sz="3958"/>
              <a:t>.</a:t>
            </a:r>
            <a:endParaRPr lang="en-IE" sz="3958"/>
          </a:p>
        </p:txBody>
      </p:sp>
    </p:spTree>
    <p:extLst>
      <p:ext uri="{BB962C8B-B14F-4D97-AF65-F5344CB8AC3E}">
        <p14:creationId xmlns:p14="http://schemas.microsoft.com/office/powerpoint/2010/main" val="193703881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V 2">
  <p:cSld name="CV 2">
    <p:bg>
      <p:bgPr>
        <a:solidFill>
          <a:srgbClr val="FFFFFF"/>
        </a:solidFill>
        <a:effectLst/>
      </p:bgPr>
    </p:bg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p39"/>
          <p:cNvSpPr/>
          <p:nvPr/>
        </p:nvSpPr>
        <p:spPr>
          <a:xfrm>
            <a:off x="0" y="-165"/>
            <a:ext cx="7144511" cy="11310938"/>
          </a:xfrm>
          <a:prstGeom prst="rect">
            <a:avLst/>
          </a:prstGeom>
          <a:solidFill>
            <a:srgbClr val="1A1A1A"/>
          </a:solidFill>
          <a:ln>
            <a:noFill/>
          </a:ln>
        </p:spPr>
        <p:txBody>
          <a:bodyPr spcFirstLastPara="1" wrap="square" lIns="150782" tIns="75363" rIns="150782" bIns="7536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4" name="Google Shape;424;p39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5825241" cy="8961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5" name="Google Shape;425;p39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6" name="Google Shape;426;p39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7" name="Google Shape;427;p39"/>
          <p:cNvPicPr preferRelativeResize="0"/>
          <p:nvPr/>
        </p:nvPicPr>
        <p:blipFill rotWithShape="1">
          <a:blip r:embed="rId2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39"/>
          <p:cNvSpPr txBox="1">
            <a:spLocks noGrp="1"/>
          </p:cNvSpPr>
          <p:nvPr>
            <p:ph type="body" idx="1"/>
          </p:nvPr>
        </p:nvSpPr>
        <p:spPr>
          <a:xfrm>
            <a:off x="7175294" y="1186952"/>
            <a:ext cx="11619478" cy="8926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90947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V 1bis">
  <p:cSld name="CV 1bis">
    <p:bg>
      <p:bgPr>
        <a:solidFill>
          <a:srgbClr val="FFFFFF"/>
        </a:solidFill>
        <a:effectLst/>
      </p:bgPr>
    </p:bg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40"/>
          <p:cNvSpPr/>
          <p:nvPr/>
        </p:nvSpPr>
        <p:spPr>
          <a:xfrm>
            <a:off x="0" y="0"/>
            <a:ext cx="7144511" cy="11310938"/>
          </a:xfrm>
          <a:prstGeom prst="rect">
            <a:avLst/>
          </a:prstGeom>
          <a:solidFill>
            <a:srgbClr val="1A1A1A"/>
          </a:solidFill>
          <a:ln>
            <a:noFill/>
          </a:ln>
        </p:spPr>
        <p:txBody>
          <a:bodyPr spcFirstLastPara="1" wrap="square" lIns="150782" tIns="75363" rIns="150782" bIns="7536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1" name="Google Shape;431;p40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4802146" cy="2031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defRPr sz="3958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432" name="Google Shape;432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62910" y="127306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433" name="Google Shape;433;p40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Google Shape;434;p40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5" name="Google Shape;435;p40"/>
          <p:cNvPicPr preferRelativeResize="0"/>
          <p:nvPr/>
        </p:nvPicPr>
        <p:blipFill rotWithShape="1">
          <a:blip r:embed="rId3">
            <a:alphaModFix/>
          </a:blip>
          <a:srcRect t="25110" b="25105"/>
          <a:stretch/>
        </p:blipFill>
        <p:spPr>
          <a:xfrm>
            <a:off x="966752" y="10577961"/>
            <a:ext cx="2798888" cy="323891"/>
          </a:xfrm>
          <a:prstGeom prst="rect">
            <a:avLst/>
          </a:prstGeom>
          <a:noFill/>
          <a:ln>
            <a:noFill/>
          </a:ln>
        </p:spPr>
      </p:pic>
      <p:sp>
        <p:nvSpPr>
          <p:cNvPr id="436" name="Google Shape;436;p40"/>
          <p:cNvSpPr txBox="1">
            <a:spLocks noGrp="1"/>
          </p:cNvSpPr>
          <p:nvPr>
            <p:ph type="body" idx="1"/>
          </p:nvPr>
        </p:nvSpPr>
        <p:spPr>
          <a:xfrm>
            <a:off x="7175292" y="2445355"/>
            <a:ext cx="11619478" cy="7667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7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7" name="Google Shape;437;p40"/>
          <p:cNvSpPr txBox="1">
            <a:spLocks noGrp="1"/>
          </p:cNvSpPr>
          <p:nvPr>
            <p:ph type="body" idx="2"/>
          </p:nvPr>
        </p:nvSpPr>
        <p:spPr>
          <a:xfrm>
            <a:off x="1326417" y="4082584"/>
            <a:ext cx="5624711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8" name="Google Shape;438;p40"/>
          <p:cNvSpPr txBox="1">
            <a:spLocks noGrp="1"/>
          </p:cNvSpPr>
          <p:nvPr>
            <p:ph type="body" idx="3"/>
          </p:nvPr>
        </p:nvSpPr>
        <p:spPr>
          <a:xfrm>
            <a:off x="1326417" y="4796359"/>
            <a:ext cx="5624711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199" b="0" i="1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419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9" name="Google Shape;439;p40"/>
          <p:cNvSpPr txBox="1">
            <a:spLocks noGrp="1"/>
          </p:cNvSpPr>
          <p:nvPr>
            <p:ph type="body" idx="4"/>
          </p:nvPr>
        </p:nvSpPr>
        <p:spPr>
          <a:xfrm>
            <a:off x="7202027" y="1186401"/>
            <a:ext cx="11603647" cy="12013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0" rIns="0" bIns="0" anchor="t" anchorCtr="0">
            <a:noAutofit/>
          </a:bodyPr>
          <a:lstStyle>
            <a:lvl1pPr marL="1005291" marR="0" lvl="0" indent="-50264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None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●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○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5623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■"/>
              <a:defRPr sz="2419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40" name="Google Shape;440;p40"/>
          <p:cNvSpPr txBox="1">
            <a:spLocks noGrp="1"/>
          </p:cNvSpPr>
          <p:nvPr>
            <p:ph type="body" idx="5"/>
          </p:nvPr>
        </p:nvSpPr>
        <p:spPr>
          <a:xfrm>
            <a:off x="1319436" y="5653410"/>
            <a:ext cx="5835135" cy="4468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08000" bIns="0" anchor="t" anchorCtr="0">
            <a:noAutofit/>
          </a:bodyPr>
          <a:lstStyle>
            <a:lvl1pPr marL="1005291" marR="0" lvl="0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○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■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●"/>
              <a:defRPr sz="1979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○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■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●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○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2830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900"/>
              <a:buFont typeface="Arial"/>
              <a:buChar char="■"/>
              <a:defRPr sz="1979" b="0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62114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2">
  <p:cSld name="Section_2">
    <p:bg>
      <p:bgPr>
        <a:solidFill>
          <a:srgbClr val="FFFFFF"/>
        </a:solidFill>
        <a:effectLst/>
      </p:bgPr>
    </p:bg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4" name="Google Shape;454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26968" y="1186402"/>
            <a:ext cx="17451757" cy="8927144"/>
          </a:xfrm>
          <a:prstGeom prst="rect">
            <a:avLst/>
          </a:prstGeom>
          <a:noFill/>
          <a:ln>
            <a:noFill/>
          </a:ln>
        </p:spPr>
      </p:pic>
      <p:pic>
        <p:nvPicPr>
          <p:cNvPr id="455" name="Google Shape;455;p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399251" y="118142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456" name="Google Shape;456;p42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42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58" name="Google Shape;458;p42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459" name="Google Shape;459;p42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0" name="Google Shape;460;p42"/>
          <p:cNvSpPr/>
          <p:nvPr/>
        </p:nvSpPr>
        <p:spPr>
          <a:xfrm rot="-430330">
            <a:off x="-45739" y="-3968229"/>
            <a:ext cx="12923111" cy="12924812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61" name="Google Shape;461;p42"/>
          <p:cNvCxnSpPr/>
          <p:nvPr/>
        </p:nvCxnSpPr>
        <p:spPr>
          <a:xfrm flipH="1">
            <a:off x="-1168443" y="7441746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62" name="Google Shape;462;p42"/>
          <p:cNvSpPr/>
          <p:nvPr/>
        </p:nvSpPr>
        <p:spPr>
          <a:xfrm>
            <a:off x="1758140" y="7024087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3" name="Google Shape;463;p42"/>
          <p:cNvSpPr txBox="1">
            <a:spLocks noGrp="1"/>
          </p:cNvSpPr>
          <p:nvPr>
            <p:ph type="title"/>
          </p:nvPr>
        </p:nvSpPr>
        <p:spPr>
          <a:xfrm>
            <a:off x="2898438" y="2743926"/>
            <a:ext cx="14308812" cy="3532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300"/>
              <a:buFont typeface="Arial"/>
              <a:buNone/>
              <a:defRPr sz="7256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4" name="Google Shape;464;p42"/>
          <p:cNvSpPr txBox="1">
            <a:spLocks noGrp="1"/>
          </p:cNvSpPr>
          <p:nvPr>
            <p:ph type="subTitle" idx="2"/>
          </p:nvPr>
        </p:nvSpPr>
        <p:spPr>
          <a:xfrm>
            <a:off x="2898438" y="6275883"/>
            <a:ext cx="14308812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3520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E8700AF-35EA-7841-A1F6-5300187629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0105688" cy="11310938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7050" y="1454150"/>
            <a:ext cx="19048413" cy="718658"/>
          </a:xfrm>
        </p:spPr>
        <p:txBody>
          <a:bodyPr anchor="t" anchorCtr="0">
            <a:spAutoFit/>
          </a:bodyPr>
          <a:lstStyle>
            <a:lvl1pPr algn="l">
              <a:defRPr sz="4400" spc="0" baseline="0">
                <a:solidFill>
                  <a:srgbClr val="1266A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3C724BE-C436-C34A-85A3-D96EE486F0EA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463" y="1119933"/>
            <a:ext cx="174498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64E4D2-529D-0644-9936-EAE69D663E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35600" y="3910999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2D7588E-27DC-9D40-8541-EB015BC1D1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972800" y="3910999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19811CA-BBA5-2249-8A69-8D951C8252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35600" y="8457599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85D28AA-B7E0-1C4C-89BA-BE85F9DDCB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72800" y="8457599"/>
            <a:ext cx="3632200" cy="701731"/>
          </a:xfrm>
        </p:spPr>
        <p:txBody>
          <a:bodyPr/>
          <a:lstStyle>
            <a:lvl1pPr algn="ctr">
              <a:defRPr sz="2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2A7B3B-BD15-184C-9620-ED26F3DA03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8371969" y="280919"/>
            <a:ext cx="1352910" cy="83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37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 userDrawn="1">
          <p15:clr>
            <a:srgbClr val="FBAE40"/>
          </p15:clr>
        </p15:guide>
        <p15:guide id="2" pos="12331" userDrawn="1">
          <p15:clr>
            <a:srgbClr val="FBAE40"/>
          </p15:clr>
        </p15:guide>
        <p15:guide id="3" orient="horz" pos="704" userDrawn="1">
          <p15:clr>
            <a:srgbClr val="FBAE40"/>
          </p15:clr>
        </p15:guide>
        <p15:guide id="4" orient="horz" pos="6421" userDrawn="1">
          <p15:clr>
            <a:srgbClr val="FBAE40"/>
          </p15:clr>
        </p15:guide>
        <p15:guide id="5" orient="horz" pos="1227" userDrawn="1">
          <p15:clr>
            <a:srgbClr val="FBAE40"/>
          </p15:clr>
        </p15:guide>
        <p15:guide id="6" orient="horz" pos="1615" userDrawn="1">
          <p15:clr>
            <a:srgbClr val="FBAE40"/>
          </p15:clr>
        </p15:guide>
        <p15:guide id="7" orient="horz" pos="916" userDrawn="1">
          <p15:clr>
            <a:srgbClr val="FBAE40"/>
          </p15:clr>
        </p15:guide>
        <p15:guide id="8" pos="11318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_3">
  <p:cSld name="Section_3">
    <p:bg>
      <p:bgPr>
        <a:solidFill>
          <a:srgbClr val="FFFFFF"/>
        </a:solidFill>
        <a:effectLst/>
      </p:bgPr>
    </p:bg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6" name="Google Shape;466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73582" y="1198440"/>
            <a:ext cx="17451757" cy="8915104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" name="Google Shape;467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194962" y="7314722"/>
            <a:ext cx="4222494" cy="4469286"/>
          </a:xfrm>
          <a:prstGeom prst="rect">
            <a:avLst/>
          </a:prstGeom>
          <a:noFill/>
          <a:ln>
            <a:noFill/>
          </a:ln>
        </p:spPr>
      </p:pic>
      <p:sp>
        <p:nvSpPr>
          <p:cNvPr id="468" name="Google Shape;468;p43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43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70" name="Google Shape;470;p43"/>
          <p:cNvPicPr preferRelativeResize="0"/>
          <p:nvPr/>
        </p:nvPicPr>
        <p:blipFill rotWithShape="1">
          <a:blip r:embed="rId4">
            <a:alphaModFix/>
          </a:blip>
          <a:srcRect t="25086" b="25075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471" name="Google Shape;471;p43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2" name="Google Shape;472;p43"/>
          <p:cNvSpPr/>
          <p:nvPr/>
        </p:nvSpPr>
        <p:spPr>
          <a:xfrm rot="-430330">
            <a:off x="-45739" y="-3968229"/>
            <a:ext cx="12923111" cy="12924812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73" name="Google Shape;473;p43"/>
          <p:cNvCxnSpPr/>
          <p:nvPr/>
        </p:nvCxnSpPr>
        <p:spPr>
          <a:xfrm flipH="1">
            <a:off x="-1168443" y="7441746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74" name="Google Shape;474;p43"/>
          <p:cNvSpPr/>
          <p:nvPr/>
        </p:nvSpPr>
        <p:spPr>
          <a:xfrm>
            <a:off x="1758140" y="7024087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5" name="Google Shape;475;p43"/>
          <p:cNvSpPr txBox="1">
            <a:spLocks noGrp="1"/>
          </p:cNvSpPr>
          <p:nvPr>
            <p:ph type="title"/>
          </p:nvPr>
        </p:nvSpPr>
        <p:spPr>
          <a:xfrm>
            <a:off x="2898438" y="2743926"/>
            <a:ext cx="14308812" cy="3532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300"/>
              <a:buFont typeface="Arial"/>
              <a:buNone/>
              <a:defRPr sz="7256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6" name="Google Shape;476;p43"/>
          <p:cNvSpPr txBox="1">
            <a:spLocks noGrp="1"/>
          </p:cNvSpPr>
          <p:nvPr>
            <p:ph type="subTitle" idx="2"/>
          </p:nvPr>
        </p:nvSpPr>
        <p:spPr>
          <a:xfrm>
            <a:off x="2898438" y="6275883"/>
            <a:ext cx="14308812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Arial"/>
              <a:buNone/>
              <a:defRPr sz="3078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25889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1 1">
  <p:cSld name="Cover_1 1">
    <p:bg>
      <p:bgPr>
        <a:solidFill>
          <a:srgbClr val="FFFFFF"/>
        </a:solidFill>
        <a:effectLst/>
      </p:bgPr>
    </p:bg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8" name="Google Shape;478;p44"/>
          <p:cNvPicPr preferRelativeResize="0"/>
          <p:nvPr/>
        </p:nvPicPr>
        <p:blipFill rotWithShape="1">
          <a:blip r:embed="rId2">
            <a:alphaModFix/>
          </a:blip>
          <a:srcRect t="26608" b="26603"/>
          <a:stretch/>
        </p:blipFill>
        <p:spPr>
          <a:xfrm>
            <a:off x="656454" y="1186409"/>
            <a:ext cx="5371521" cy="622228"/>
          </a:xfrm>
          <a:prstGeom prst="rect">
            <a:avLst/>
          </a:prstGeom>
          <a:noFill/>
          <a:ln>
            <a:noFill/>
          </a:ln>
        </p:spPr>
      </p:pic>
      <p:sp>
        <p:nvSpPr>
          <p:cNvPr id="479" name="Google Shape;479;p44"/>
          <p:cNvSpPr txBox="1">
            <a:spLocks noGrp="1"/>
          </p:cNvSpPr>
          <p:nvPr>
            <p:ph type="title"/>
          </p:nvPr>
        </p:nvSpPr>
        <p:spPr>
          <a:xfrm>
            <a:off x="1326967" y="2975787"/>
            <a:ext cx="11633330" cy="323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6000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3000"/>
              <a:buFont typeface="Arial"/>
              <a:buNone/>
              <a:defRPr sz="6596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0" name="Google Shape;480;p44"/>
          <p:cNvSpPr txBox="1">
            <a:spLocks noGrp="1"/>
          </p:cNvSpPr>
          <p:nvPr>
            <p:ph type="subTitle" idx="1"/>
          </p:nvPr>
        </p:nvSpPr>
        <p:spPr>
          <a:xfrm>
            <a:off x="1326967" y="6211065"/>
            <a:ext cx="11633330" cy="162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6000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481" name="Google Shape;481;p44"/>
          <p:cNvCxnSpPr/>
          <p:nvPr/>
        </p:nvCxnSpPr>
        <p:spPr>
          <a:xfrm flipH="1">
            <a:off x="15456083" y="6850831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82" name="Google Shape;482;p44"/>
          <p:cNvSpPr/>
          <p:nvPr/>
        </p:nvSpPr>
        <p:spPr>
          <a:xfrm>
            <a:off x="15064479" y="9658884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3" name="Google Shape;483;p44"/>
          <p:cNvPicPr preferRelativeResize="0"/>
          <p:nvPr/>
        </p:nvPicPr>
        <p:blipFill rotWithShape="1">
          <a:blip r:embed="rId3">
            <a:alphaModFix/>
          </a:blip>
          <a:srcRect l="1831" t="1190" r="63479" b="-1190"/>
          <a:stretch/>
        </p:blipFill>
        <p:spPr>
          <a:xfrm>
            <a:off x="12961452" y="1"/>
            <a:ext cx="7144243" cy="11586871"/>
          </a:xfrm>
          <a:prstGeom prst="rect">
            <a:avLst/>
          </a:prstGeom>
          <a:noFill/>
          <a:ln>
            <a:noFill/>
          </a:ln>
        </p:spPr>
      </p:pic>
      <p:sp>
        <p:nvSpPr>
          <p:cNvPr id="484" name="Google Shape;484;p44"/>
          <p:cNvSpPr/>
          <p:nvPr/>
        </p:nvSpPr>
        <p:spPr>
          <a:xfrm rot="-430330">
            <a:off x="11814020" y="3161143"/>
            <a:ext cx="12923111" cy="12924812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5" name="Google Shape;485;p44"/>
          <p:cNvSpPr txBox="1">
            <a:spLocks noGrp="1"/>
          </p:cNvSpPr>
          <p:nvPr>
            <p:ph type="body" idx="2"/>
          </p:nvPr>
        </p:nvSpPr>
        <p:spPr>
          <a:xfrm>
            <a:off x="1326417" y="2491771"/>
            <a:ext cx="8322620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979" b="1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2830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2830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2830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2830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6" name="Google Shape;486;p44"/>
          <p:cNvSpPr>
            <a:spLocks noGrp="1"/>
          </p:cNvSpPr>
          <p:nvPr>
            <p:ph type="pic" idx="3"/>
          </p:nvPr>
        </p:nvSpPr>
        <p:spPr>
          <a:xfrm>
            <a:off x="7145145" y="695292"/>
            <a:ext cx="5815346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797979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7979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7" name="Google Shape;487;p44"/>
          <p:cNvSpPr txBox="1">
            <a:spLocks noGrp="1"/>
          </p:cNvSpPr>
          <p:nvPr>
            <p:ph type="body" idx="4"/>
          </p:nvPr>
        </p:nvSpPr>
        <p:spPr>
          <a:xfrm>
            <a:off x="1326964" y="8778300"/>
            <a:ext cx="520716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8" name="Google Shape;488;p44"/>
          <p:cNvSpPr txBox="1">
            <a:spLocks noGrp="1"/>
          </p:cNvSpPr>
          <p:nvPr>
            <p:ph type="body" idx="5"/>
          </p:nvPr>
        </p:nvSpPr>
        <p:spPr>
          <a:xfrm>
            <a:off x="1326964" y="9124728"/>
            <a:ext cx="520716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9" name="Google Shape;489;p44"/>
          <p:cNvSpPr txBox="1">
            <a:spLocks noGrp="1"/>
          </p:cNvSpPr>
          <p:nvPr>
            <p:ph type="body" idx="6"/>
          </p:nvPr>
        </p:nvSpPr>
        <p:spPr>
          <a:xfrm>
            <a:off x="1326964" y="9479092"/>
            <a:ext cx="5184075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0" name="Google Shape;490;p44"/>
          <p:cNvSpPr txBox="1">
            <a:spLocks noGrp="1"/>
          </p:cNvSpPr>
          <p:nvPr>
            <p:ph type="body" idx="7"/>
          </p:nvPr>
        </p:nvSpPr>
        <p:spPr>
          <a:xfrm>
            <a:off x="1326964" y="9825519"/>
            <a:ext cx="520716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1" name="Google Shape;491;p44"/>
          <p:cNvSpPr txBox="1">
            <a:spLocks noGrp="1"/>
          </p:cNvSpPr>
          <p:nvPr>
            <p:ph type="body" idx="8"/>
          </p:nvPr>
        </p:nvSpPr>
        <p:spPr>
          <a:xfrm>
            <a:off x="7145200" y="8778300"/>
            <a:ext cx="558711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2" name="Google Shape;492;p44"/>
          <p:cNvSpPr txBox="1">
            <a:spLocks noGrp="1"/>
          </p:cNvSpPr>
          <p:nvPr>
            <p:ph type="body" idx="9"/>
          </p:nvPr>
        </p:nvSpPr>
        <p:spPr>
          <a:xfrm>
            <a:off x="7145200" y="9124728"/>
            <a:ext cx="5587112" cy="2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3" name="Google Shape;493;p44"/>
          <p:cNvSpPr txBox="1">
            <a:spLocks noGrp="1"/>
          </p:cNvSpPr>
          <p:nvPr>
            <p:ph type="body" idx="13"/>
          </p:nvPr>
        </p:nvSpPr>
        <p:spPr>
          <a:xfrm>
            <a:off x="7145200" y="9479090"/>
            <a:ext cx="5562046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4" name="Google Shape;494;p44"/>
          <p:cNvSpPr txBox="1">
            <a:spLocks noGrp="1"/>
          </p:cNvSpPr>
          <p:nvPr>
            <p:ph type="body" idx="14"/>
          </p:nvPr>
        </p:nvSpPr>
        <p:spPr>
          <a:xfrm>
            <a:off x="7145200" y="9825519"/>
            <a:ext cx="5587112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7119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">
          <p15:clr>
            <a:srgbClr val="FA7B17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_20 1">
  <p:cSld name="Slide_20 1">
    <p:bg>
      <p:bgPr>
        <a:solidFill>
          <a:srgbClr val="FFFFFF"/>
        </a:solidFill>
        <a:effectLst/>
      </p:bgPr>
    </p:bg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48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GB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1" name="Google Shape;521;p48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GB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2" name="Google Shape;522;p48"/>
          <p:cNvPicPr preferRelativeResize="0"/>
          <p:nvPr/>
        </p:nvPicPr>
        <p:blipFill rotWithShape="1">
          <a:blip r:embed="rId2">
            <a:alphaModFix/>
          </a:blip>
          <a:srcRect t="25087" b="25077"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523" name="Google Shape;523;p48"/>
          <p:cNvSpPr txBox="1">
            <a:spLocks noGrp="1"/>
          </p:cNvSpPr>
          <p:nvPr>
            <p:ph type="title"/>
          </p:nvPr>
        </p:nvSpPr>
        <p:spPr>
          <a:xfrm>
            <a:off x="1319436" y="1152040"/>
            <a:ext cx="17459231" cy="1409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3958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4" name="Google Shape;524;p48"/>
          <p:cNvSpPr txBox="1">
            <a:spLocks noGrp="1"/>
          </p:cNvSpPr>
          <p:nvPr>
            <p:ph type="subTitle" idx="1"/>
          </p:nvPr>
        </p:nvSpPr>
        <p:spPr>
          <a:xfrm>
            <a:off x="1323229" y="2561866"/>
            <a:ext cx="17459231" cy="1131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5" name="Google Shape;525;p48"/>
          <p:cNvSpPr txBox="1">
            <a:spLocks noGrp="1"/>
          </p:cNvSpPr>
          <p:nvPr>
            <p:ph type="body" idx="2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0D67CB-8CC6-403E-AF87-28B0018F84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063686" y="424571"/>
            <a:ext cx="2137247" cy="98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154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96">
          <p15:clr>
            <a:srgbClr val="FA7B17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1">
  <p:cSld name="Content 1"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4" name="Google Shape;534;p50"/>
          <p:cNvCxnSpPr/>
          <p:nvPr/>
        </p:nvCxnSpPr>
        <p:spPr>
          <a:xfrm>
            <a:off x="1140543" y="1869908"/>
            <a:ext cx="890508" cy="0"/>
          </a:xfrm>
          <a:prstGeom prst="straightConnector1">
            <a:avLst/>
          </a:prstGeom>
          <a:noFill/>
          <a:ln w="38100" cap="flat" cmpd="sng">
            <a:solidFill>
              <a:srgbClr val="690F3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5" name="Google Shape;535;p50"/>
          <p:cNvSpPr txBox="1">
            <a:spLocks noGrp="1"/>
          </p:cNvSpPr>
          <p:nvPr>
            <p:ph type="body" idx="1"/>
          </p:nvPr>
        </p:nvSpPr>
        <p:spPr>
          <a:xfrm>
            <a:off x="986955" y="910599"/>
            <a:ext cx="18099077" cy="8009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125" tIns="39550" rIns="79125" bIns="39550" anchor="ctr" anchorCtr="0">
            <a:noAutofit/>
          </a:bodyPr>
          <a:lstStyle>
            <a:lvl1pPr marL="1005291" marR="0" lvl="0" indent="-502646" algn="l" rtl="0">
              <a:lnSpc>
                <a:spcPct val="90000"/>
              </a:lnSpc>
              <a:spcBef>
                <a:spcPts val="1539"/>
              </a:spcBef>
              <a:spcAft>
                <a:spcPts val="0"/>
              </a:spcAft>
              <a:buClr>
                <a:schemeClr val="dk2"/>
              </a:buClr>
              <a:buSzPts val="2100"/>
              <a:buFont typeface="Arial"/>
              <a:buNone/>
              <a:defRPr sz="4617">
                <a:solidFill>
                  <a:schemeClr val="dk2"/>
                </a:solidFill>
              </a:defRPr>
            </a:lvl1pPr>
            <a:lvl2pPr marL="2010583" lvl="1" indent="-740006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700"/>
              <a:buChar char="•"/>
              <a:defRPr sz="3738"/>
            </a:lvl2pPr>
            <a:lvl3pPr marL="3015874" lvl="2" indent="-740006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700"/>
              <a:buChar char="•"/>
              <a:defRPr sz="3738"/>
            </a:lvl3pPr>
            <a:lvl4pPr marL="4021165" lvl="3" indent="-740006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700"/>
              <a:buChar char="•"/>
              <a:defRPr sz="3738"/>
            </a:lvl4pPr>
            <a:lvl5pPr marL="5026457" lvl="4" indent="-740006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700"/>
              <a:buChar char="•"/>
              <a:defRPr sz="3738"/>
            </a:lvl5pPr>
            <a:lvl6pPr marL="6031748" lvl="5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6pPr>
            <a:lvl7pPr marL="7037040" lvl="6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8042331" lvl="7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8pPr>
            <a:lvl9pPr marL="9047622" lvl="8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536" name="Google Shape;536;p50"/>
          <p:cNvSpPr txBox="1">
            <a:spLocks noGrp="1"/>
          </p:cNvSpPr>
          <p:nvPr>
            <p:ph type="sldNum" idx="12"/>
          </p:nvPr>
        </p:nvSpPr>
        <p:spPr>
          <a:xfrm>
            <a:off x="18188757" y="10678658"/>
            <a:ext cx="897764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125" tIns="39550" rIns="79125" bIns="3955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37" name="Google Shape;537;p50"/>
          <p:cNvSpPr txBox="1">
            <a:spLocks noGrp="1"/>
          </p:cNvSpPr>
          <p:nvPr>
            <p:ph type="body" idx="2"/>
          </p:nvPr>
        </p:nvSpPr>
        <p:spPr>
          <a:xfrm>
            <a:off x="986958" y="2363484"/>
            <a:ext cx="18099077" cy="7771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125" tIns="39550" rIns="79125" bIns="39550" anchor="t" anchorCtr="0">
            <a:noAutofit/>
          </a:bodyPr>
          <a:lstStyle>
            <a:lvl1pPr marL="1005291" lvl="0" indent="-502646" algn="l" rtl="0">
              <a:lnSpc>
                <a:spcPct val="90000"/>
              </a:lnSpc>
              <a:spcBef>
                <a:spcPts val="1539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 sz="2199"/>
            </a:lvl1pPr>
            <a:lvl2pPr marL="2010583" lvl="1" indent="-642269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2199"/>
            </a:lvl2pPr>
            <a:lvl3pPr marL="3015874" lvl="2" indent="-642269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2199"/>
            </a:lvl3pPr>
            <a:lvl4pPr marL="4021165" lvl="3" indent="-628307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Char char="•"/>
              <a:defRPr sz="1979"/>
            </a:lvl4pPr>
            <a:lvl5pPr marL="5026457" lvl="4" indent="-642269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1000"/>
              <a:buChar char="•"/>
              <a:defRPr sz="2199"/>
            </a:lvl5pPr>
            <a:lvl6pPr marL="6031748" lvl="5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6pPr>
            <a:lvl7pPr marL="7037040" lvl="6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8042331" lvl="7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8pPr>
            <a:lvl9pPr marL="9047622" lvl="8" indent="-726044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75960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1">
  <p:cSld name="Cover_1">
    <p:bg>
      <p:bgPr>
        <a:solidFill>
          <a:srgbClr val="FFFFFF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8;p3"/>
          <p:cNvPicPr preferRelativeResize="0"/>
          <p:nvPr/>
        </p:nvPicPr>
        <p:blipFill>
          <a:blip r:embed="rId2"/>
          <a:srcRect/>
          <a:stretch/>
        </p:blipFill>
        <p:spPr>
          <a:xfrm>
            <a:off x="1346970" y="1240967"/>
            <a:ext cx="4047477" cy="47043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9;p3"/>
          <p:cNvSpPr txBox="1">
            <a:spLocks noGrp="1"/>
          </p:cNvSpPr>
          <p:nvPr>
            <p:ph type="title"/>
          </p:nvPr>
        </p:nvSpPr>
        <p:spPr>
          <a:xfrm>
            <a:off x="1326967" y="2975787"/>
            <a:ext cx="11633330" cy="3235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6000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3000"/>
              <a:buFont typeface="Arial"/>
              <a:buNone/>
              <a:defRPr sz="6596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/>
              <a:t>Modifiez le style du titre</a:t>
            </a:r>
            <a:endParaRPr/>
          </a:p>
        </p:txBody>
      </p:sp>
      <p:cxnSp>
        <p:nvCxnSpPr>
          <p:cNvPr id="10" name="Google Shape;10;p3"/>
          <p:cNvCxnSpPr/>
          <p:nvPr/>
        </p:nvCxnSpPr>
        <p:spPr>
          <a:xfrm flipH="1">
            <a:off x="15456083" y="6850831"/>
            <a:ext cx="3120735" cy="2974688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1;p3"/>
          <p:cNvSpPr/>
          <p:nvPr/>
        </p:nvSpPr>
        <p:spPr>
          <a:xfrm>
            <a:off x="15064479" y="9658884"/>
            <a:ext cx="622036" cy="622118"/>
          </a:xfrm>
          <a:prstGeom prst="ellipse">
            <a:avLst/>
          </a:prstGeom>
          <a:solidFill>
            <a:schemeClr val="dk1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01024" tIns="201024" rIns="201024" bIns="201024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307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" name="Google Shape;12;p3"/>
          <p:cNvPicPr preferRelativeResize="0"/>
          <p:nvPr/>
        </p:nvPicPr>
        <p:blipFill rotWithShape="1">
          <a:blip r:embed="rId3">
            <a:alphaModFix/>
          </a:blip>
          <a:srcRect b="-1199"/>
          <a:stretch/>
        </p:blipFill>
        <p:spPr>
          <a:xfrm>
            <a:off x="12961452" y="1"/>
            <a:ext cx="7144243" cy="1158687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3"/>
          <p:cNvSpPr/>
          <p:nvPr/>
        </p:nvSpPr>
        <p:spPr>
          <a:xfrm rot="-430330">
            <a:off x="11814020" y="3161143"/>
            <a:ext cx="12923111" cy="12924812"/>
          </a:xfrm>
          <a:prstGeom prst="ellipse">
            <a:avLst/>
          </a:prstGeom>
          <a:noFill/>
          <a:ln w="28575" cap="flat" cmpd="sng">
            <a:solidFill>
              <a:schemeClr val="accent1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endParaRPr sz="329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4;p3"/>
          <p:cNvSpPr txBox="1">
            <a:spLocks noGrp="1"/>
          </p:cNvSpPr>
          <p:nvPr>
            <p:ph type="body" idx="1"/>
          </p:nvPr>
        </p:nvSpPr>
        <p:spPr>
          <a:xfrm>
            <a:off x="1326417" y="2491771"/>
            <a:ext cx="8322620" cy="288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None/>
              <a:defRPr sz="1979" b="1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28307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Google Shape;15;p3"/>
          <p:cNvSpPr>
            <a:spLocks noGrp="1"/>
          </p:cNvSpPr>
          <p:nvPr>
            <p:ph type="pic" idx="2"/>
          </p:nvPr>
        </p:nvSpPr>
        <p:spPr>
          <a:xfrm>
            <a:off x="7145145" y="695292"/>
            <a:ext cx="5815346" cy="1269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759"/>
              </a:spcBef>
              <a:spcAft>
                <a:spcPts val="0"/>
              </a:spcAft>
              <a:buClr>
                <a:srgbClr val="797979"/>
              </a:buClr>
              <a:buSzPts val="1100"/>
              <a:buFont typeface="Arial"/>
              <a:buNone/>
              <a:defRPr sz="2419" b="0" i="0" u="none" strike="noStrike" cap="none">
                <a:solidFill>
                  <a:srgbClr val="79797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/>
              <a:t>Cliquez sur l'icône pour ajouter une image</a:t>
            </a:r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ubTitle" idx="3"/>
          </p:nvPr>
        </p:nvSpPr>
        <p:spPr>
          <a:xfrm>
            <a:off x="1327354" y="6211065"/>
            <a:ext cx="11633137" cy="162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None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/>
              <a:t>Modifiez le style des sous-titres du masque</a:t>
            </a:r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4"/>
          </p:nvPr>
        </p:nvSpPr>
        <p:spPr>
          <a:xfrm>
            <a:off x="1340279" y="8754502"/>
            <a:ext cx="5804864" cy="296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body" idx="5"/>
          </p:nvPr>
        </p:nvSpPr>
        <p:spPr>
          <a:xfrm>
            <a:off x="1340279" y="9118898"/>
            <a:ext cx="5804864" cy="296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Google Shape;19;p3"/>
          <p:cNvSpPr txBox="1">
            <a:spLocks noGrp="1"/>
          </p:cNvSpPr>
          <p:nvPr>
            <p:ph type="body" idx="6"/>
          </p:nvPr>
        </p:nvSpPr>
        <p:spPr>
          <a:xfrm>
            <a:off x="1340279" y="9483294"/>
            <a:ext cx="5804864" cy="296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Google Shape;20;p3"/>
          <p:cNvSpPr txBox="1">
            <a:spLocks noGrp="1"/>
          </p:cNvSpPr>
          <p:nvPr>
            <p:ph type="body" idx="7"/>
          </p:nvPr>
        </p:nvSpPr>
        <p:spPr>
          <a:xfrm>
            <a:off x="1340279" y="9847690"/>
            <a:ext cx="5804864" cy="288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body" idx="8"/>
          </p:nvPr>
        </p:nvSpPr>
        <p:spPr>
          <a:xfrm>
            <a:off x="7158948" y="8754502"/>
            <a:ext cx="5804864" cy="296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1A1A"/>
              </a:buClr>
              <a:buSzPts val="800"/>
              <a:buFont typeface="Arial"/>
              <a:buNone/>
              <a:defRPr sz="1759" b="1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Google Shape;22;p3"/>
          <p:cNvSpPr txBox="1">
            <a:spLocks noGrp="1"/>
          </p:cNvSpPr>
          <p:nvPr>
            <p:ph type="body" idx="9"/>
          </p:nvPr>
        </p:nvSpPr>
        <p:spPr>
          <a:xfrm>
            <a:off x="7158948" y="9118898"/>
            <a:ext cx="5804864" cy="296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1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13"/>
          </p:nvPr>
        </p:nvSpPr>
        <p:spPr>
          <a:xfrm>
            <a:off x="7158948" y="9483294"/>
            <a:ext cx="5804864" cy="296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14"/>
          </p:nvPr>
        </p:nvSpPr>
        <p:spPr>
          <a:xfrm>
            <a:off x="7158948" y="9847690"/>
            <a:ext cx="5804864" cy="288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1005291" marR="0" lvl="0" indent="-50264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28307" algn="l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dk2"/>
              </a:buClr>
              <a:buSzPts val="900"/>
              <a:buFont typeface="Arial"/>
              <a:buChar char="•"/>
              <a:defRPr sz="197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rgbClr val="1A1A1A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98119" algn="l">
              <a:lnSpc>
                <a:spcPct val="90000"/>
              </a:lnSpc>
              <a:spcBef>
                <a:spcPts val="8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307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E05F182-D8C5-4ECE-9416-B3B8733B62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291820" y="770695"/>
            <a:ext cx="3032969" cy="140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960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">
          <p15:clr>
            <a:srgbClr val="FA7B17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_1">
  <p:cSld name="Empty_1">
    <p:bg>
      <p:bgPr>
        <a:solidFill>
          <a:schemeClr val="lt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45"/>
          <p:cNvSpPr txBox="1"/>
          <p:nvPr/>
        </p:nvSpPr>
        <p:spPr>
          <a:xfrm>
            <a:off x="17708025" y="10417344"/>
            <a:ext cx="1071248" cy="6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fld id="{00000000-1234-1234-1234-123412341234}" type="slidenum">
              <a:rPr lang="en-US" sz="1979" b="0" i="0" u="none" strike="noStrike" cap="none">
                <a:solidFill>
                  <a:srgbClr val="1A1A1A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t>‹#›</a:t>
            </a:fld>
            <a:endParaRPr sz="1979" b="0" i="0" u="none" strike="noStrike" cap="none">
              <a:solidFill>
                <a:srgbClr val="1A1A1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58;p45"/>
          <p:cNvSpPr txBox="1"/>
          <p:nvPr/>
        </p:nvSpPr>
        <p:spPr>
          <a:xfrm>
            <a:off x="3716388" y="10577987"/>
            <a:ext cx="3935385" cy="489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39699"/>
              </a:buClr>
              <a:buSzPts val="800"/>
              <a:buFont typeface="Arial"/>
              <a:buNone/>
            </a:pPr>
            <a:r>
              <a:rPr lang="en-US" sz="1759" b="0" i="0" u="none" strike="noStrike" cap="none">
                <a:solidFill>
                  <a:srgbClr val="939699"/>
                </a:solidFill>
                <a:latin typeface="Arial"/>
                <a:ea typeface="Arial"/>
                <a:cs typeface="Arial"/>
                <a:sym typeface="Arial"/>
              </a:rPr>
              <a:t>confidential</a:t>
            </a:r>
            <a:endParaRPr sz="1759" b="0" i="0" u="none" strike="noStrike" cap="none">
              <a:solidFill>
                <a:srgbClr val="93969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9" name="Google Shape;59;p4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752" y="10577960"/>
            <a:ext cx="2798888" cy="324201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45"/>
          <p:cNvSpPr txBox="1">
            <a:spLocks noGrp="1"/>
          </p:cNvSpPr>
          <p:nvPr>
            <p:ph type="body" idx="1"/>
          </p:nvPr>
        </p:nvSpPr>
        <p:spPr>
          <a:xfrm>
            <a:off x="1323229" y="481322"/>
            <a:ext cx="17459231" cy="202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1005291" marR="0" lvl="0" indent="-502646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010583" marR="0" lvl="1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015874" marR="0" lvl="2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021165" marR="0" lvl="3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026457" marR="0" lvl="4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031748" marR="0" lvl="5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037040" marR="0" lvl="6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●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8042331" marR="0" lvl="7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○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9047622" marR="0" lvl="8" indent="-614345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Char char="■"/>
              <a:defRPr sz="1759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79513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6" Type="http://schemas.openxmlformats.org/officeDocument/2006/relationships/vmlDrawing" Target="../drawings/vmlDrawing3.v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image" Target="../media/image7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oleObject" Target="../embeddings/oleObject3.bin"/><Relationship Id="rId5" Type="http://schemas.openxmlformats.org/officeDocument/2006/relationships/slideLayout" Target="../slideLayouts/slideLayout34.xml"/><Relationship Id="rId15" Type="http://schemas.openxmlformats.org/officeDocument/2006/relationships/theme" Target="../theme/theme2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153.xml"/><Relationship Id="rId26" Type="http://schemas.openxmlformats.org/officeDocument/2006/relationships/tags" Target="../tags/tag161.xml"/><Relationship Id="rId39" Type="http://schemas.openxmlformats.org/officeDocument/2006/relationships/image" Target="../media/image7.emf"/><Relationship Id="rId21" Type="http://schemas.openxmlformats.org/officeDocument/2006/relationships/tags" Target="../tags/tag156.xml"/><Relationship Id="rId34" Type="http://schemas.openxmlformats.org/officeDocument/2006/relationships/tags" Target="../tags/tag169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vmlDrawing" Target="../drawings/vmlDrawing12.v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oleObject" Target="../embeddings/oleObject12.bin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3.xml"/><Relationship Id="rId20" Type="http://schemas.openxmlformats.org/officeDocument/2006/relationships/tags" Target="../tags/tag155.xml"/><Relationship Id="rId29" Type="http://schemas.openxmlformats.org/officeDocument/2006/relationships/tags" Target="../tags/tag16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tags" Target="../tags/tag172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tags" Target="../tags/tag171.xml"/><Relationship Id="rId10" Type="http://schemas.openxmlformats.org/officeDocument/2006/relationships/slideLayout" Target="../slideLayouts/slideLayout53.xml"/><Relationship Id="rId19" Type="http://schemas.openxmlformats.org/officeDocument/2006/relationships/tags" Target="../tags/tag154.xml"/><Relationship Id="rId31" Type="http://schemas.openxmlformats.org/officeDocument/2006/relationships/tags" Target="../tags/tag16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DC8F75-63C1-4224-AF5F-7759628180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317319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4" imgW="451" imgH="450" progId="TCLayout.ActiveDocument.1">
                  <p:embed/>
                </p:oleObj>
              </mc:Choice>
              <mc:Fallback>
                <p:oleObj name="think-cell Slide" r:id="rId34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DC8F75-63C1-4224-AF5F-7759628180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9F0C115-F064-4F82-9CE8-18F120C21352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7256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266" y="1132742"/>
            <a:ext cx="17341156" cy="1125180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266" y="3011014"/>
            <a:ext cx="17341156" cy="2969274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E5A5A4-ABB8-42CA-BBE6-B7397D0E3B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200188" y="10483850"/>
            <a:ext cx="4522787" cy="6016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4A5113-041E-4AC0-AC72-EA5DA997C4C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MSIPCMContentMarking" descr="{&quot;HashCode&quot;:305565616,&quot;Placement&quot;:&quot;Footer&quot;,&quot;Top&quot;:856.752136,&quot;Left&quot;:0.0,&quot;SlideWidth&quot;:1583,&quot;SlideHeight&quot;:890}">
            <a:extLst>
              <a:ext uri="{FF2B5EF4-FFF2-40B4-BE49-F238E27FC236}">
                <a16:creationId xmlns:a16="http://schemas.microsoft.com/office/drawing/2014/main" id="{85F56308-545B-4BBD-A16A-7817F22F2B43}"/>
              </a:ext>
            </a:extLst>
          </p:cNvPr>
          <p:cNvSpPr txBox="1"/>
          <p:nvPr userDrawn="1"/>
        </p:nvSpPr>
        <p:spPr>
          <a:xfrm>
            <a:off x="0" y="10880752"/>
            <a:ext cx="997239" cy="43018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srgbClr val="000000"/>
                </a:solidFill>
                <a:latin typeface="Arial" panose="020B0604020202020204" pitchFamily="34" charset="0"/>
              </a:rPr>
              <a:t>SW Private
Personal</a:t>
            </a:r>
          </a:p>
        </p:txBody>
      </p:sp>
    </p:spTree>
    <p:extLst>
      <p:ext uri="{BB962C8B-B14F-4D97-AF65-F5344CB8AC3E}">
        <p14:creationId xmlns:p14="http://schemas.microsoft.com/office/powerpoint/2010/main" val="315426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805" r:id="rId2"/>
    <p:sldLayoutId id="2147483806" r:id="rId3"/>
    <p:sldLayoutId id="2147483680" r:id="rId4"/>
    <p:sldLayoutId id="2147483684" r:id="rId5"/>
    <p:sldLayoutId id="2147483685" r:id="rId6"/>
    <p:sldLayoutId id="2147483686" r:id="rId7"/>
    <p:sldLayoutId id="2147483682" r:id="rId8"/>
    <p:sldLayoutId id="2147483678" r:id="rId9"/>
    <p:sldLayoutId id="2147483687" r:id="rId10"/>
    <p:sldLayoutId id="2147483679" r:id="rId11"/>
    <p:sldLayoutId id="2147483675" r:id="rId12"/>
    <p:sldLayoutId id="2147483688" r:id="rId13"/>
    <p:sldLayoutId id="2147483673" r:id="rId14"/>
    <p:sldLayoutId id="2147483683" r:id="rId15"/>
    <p:sldLayoutId id="2147483681" r:id="rId16"/>
    <p:sldLayoutId id="2147483815" r:id="rId17"/>
    <p:sldLayoutId id="2147483807" r:id="rId18"/>
    <p:sldLayoutId id="2147483808" r:id="rId19"/>
    <p:sldLayoutId id="2147483664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670" r:id="rId26"/>
    <p:sldLayoutId id="2147483814" r:id="rId27"/>
    <p:sldLayoutId id="2147483705" r:id="rId28"/>
    <p:sldLayoutId id="2147483926" r:id="rId29"/>
  </p:sldLayoutIdLst>
  <p:hf hdr="0" dt="0"/>
  <p:txStyles>
    <p:titleStyle>
      <a:lvl1pPr algn="l" defTabSz="1507937" rtl="0" eaLnBrk="1" latinLnBrk="0" hangingPunct="1">
        <a:lnSpc>
          <a:spcPct val="90000"/>
        </a:lnSpc>
        <a:spcBef>
          <a:spcPct val="0"/>
        </a:spcBef>
        <a:buNone/>
        <a:defRPr sz="7256" b="1" i="0" kern="1200">
          <a:solidFill>
            <a:srgbClr val="1266A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1507937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None/>
        <a:defRPr sz="4617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53969" indent="0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None/>
        <a:defRPr sz="3958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07937" indent="0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None/>
        <a:defRPr sz="3298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261906" indent="0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None/>
        <a:defRPr sz="2968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015874" indent="0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None/>
        <a:defRPr sz="2968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4146827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795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764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732" indent="-376984" algn="l" defTabSz="1507937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41251894"/>
              </p:ext>
            </p:ext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123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6727137" y="10719497"/>
            <a:ext cx="1869101" cy="22839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84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914809" y="10644238"/>
            <a:ext cx="182760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914809" y="1949324"/>
            <a:ext cx="1827607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913549" y="10356080"/>
            <a:ext cx="12003096" cy="20300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15079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19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914809" y="284030"/>
            <a:ext cx="18276070" cy="12065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809" y="3581797"/>
            <a:ext cx="18276070" cy="41624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20103175" cy="11310938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968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7691422" y="7130930"/>
            <a:ext cx="1624128" cy="2832345"/>
            <a:chOff x="9585951" y="2980099"/>
            <a:chExt cx="984864" cy="1717295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099"/>
              <a:ext cx="658718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597"/>
              <a:ext cx="658718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095"/>
              <a:ext cx="658718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16"/>
              <a:ext cx="658718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37"/>
              <a:ext cx="653111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7632055" y="2208751"/>
            <a:ext cx="1688033" cy="2856365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0"/>
              <a:ext cx="670984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69"/>
              <a:ext cx="670984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28"/>
              <a:ext cx="670984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87"/>
              <a:ext cx="670984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48"/>
              <a:ext cx="670984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968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968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968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968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968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968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968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968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968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968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20517" y="2126406"/>
            <a:ext cx="708400" cy="246863"/>
            <a:chOff x="8456447" y="272180"/>
            <a:chExt cx="322162" cy="149647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62" cy="1496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968795">
                <a:buClr>
                  <a:schemeClr val="tx2"/>
                </a:buClr>
              </a:pPr>
              <a:r>
                <a:rPr lang="en-US" sz="1484" b="1" spc="82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1319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1827"/>
              <a:ext cx="322162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7216486" y="5349682"/>
            <a:ext cx="2093246" cy="1580529"/>
            <a:chOff x="4372690" y="3739095"/>
            <a:chExt cx="1269335" cy="958299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095"/>
              <a:ext cx="653111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17"/>
              <a:ext cx="653111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37"/>
              <a:ext cx="653111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968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968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968" baseline="0">
                <a:latin typeface="+mn-lt"/>
                <a:ea typeface="+mn-ea"/>
              </a:endParaRPr>
            </a:p>
          </p:txBody>
        </p:sp>
      </p:grpSp>
      <p:sp>
        <p:nvSpPr>
          <p:cNvPr id="4" name="MSIPCMContentMarking" descr="{&quot;HashCode&quot;:305565616,&quot;Placement&quot;:&quot;Footer&quot;,&quot;Top&quot;:856.752136,&quot;Left&quot;:0.0,&quot;SlideWidth&quot;:1583,&quot;SlideHeight&quot;:890}"/>
          <p:cNvSpPr txBox="1"/>
          <p:nvPr userDrawn="1"/>
        </p:nvSpPr>
        <p:spPr>
          <a:xfrm>
            <a:off x="0" y="10880752"/>
            <a:ext cx="997239" cy="43018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000000"/>
                </a:solidFill>
                <a:latin typeface="Arial" panose="020B0604020202020204" pitchFamily="34" charset="0"/>
              </a:rPr>
              <a:t>SW Private
Personal</a:t>
            </a:r>
          </a:p>
        </p:txBody>
      </p:sp>
    </p:spTree>
    <p:extLst>
      <p:ext uri="{BB962C8B-B14F-4D97-AF65-F5344CB8AC3E}">
        <p14:creationId xmlns:p14="http://schemas.microsoft.com/office/powerpoint/2010/main" val="3435343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</p:sldLayoutIdLst>
  <p:txStyles>
    <p:titleStyle>
      <a:lvl1pPr algn="l" defTabSz="1507937" rtl="0" eaLnBrk="1" latinLnBrk="0" hangingPunct="1">
        <a:lnSpc>
          <a:spcPct val="100000"/>
        </a:lnSpc>
        <a:spcBef>
          <a:spcPct val="0"/>
        </a:spcBef>
        <a:buNone/>
        <a:defRPr sz="4123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507937" rtl="0" eaLnBrk="1" latinLnBrk="0" hangingPunct="1">
        <a:lnSpc>
          <a:spcPct val="100000"/>
        </a:lnSpc>
        <a:spcBef>
          <a:spcPts val="495"/>
        </a:spcBef>
        <a:spcAft>
          <a:spcPts val="495"/>
        </a:spcAft>
        <a:buFont typeface="Segoe UI" panose="020B0502040204020203" pitchFamily="34" charset="0"/>
        <a:buChar char="​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76984" indent="-37174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Font typeface="Wingdings" panose="05000000000000000000" pitchFamily="2" charset="2"/>
        <a:buChar char="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850833" indent="-473849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Font typeface="Arial" panose="020B0604020202020204" pitchFamily="34" charset="0"/>
        <a:buChar char="—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225199" indent="-301065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Font typeface="Arial" panose="020B0604020202020204" pitchFamily="34" charset="0"/>
        <a:buChar char="»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507937" indent="-225143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›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619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619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261793" cy="26182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95"/>
              </a:spcBef>
              <a:spcAft>
                <a:spcPts val="495"/>
              </a:spcAft>
            </a:pPr>
            <a:endParaRPr lang="en-US" sz="4403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913549" y="10355001"/>
            <a:ext cx="12003096" cy="2030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1319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914809" y="1217164"/>
            <a:ext cx="18276070" cy="6776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20103175" cy="11310938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968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218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914809" y="2491657"/>
            <a:ext cx="738985" cy="20300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1319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914810" y="3580314"/>
            <a:ext cx="4015843" cy="76149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2639"/>
              <a:t>Above Chart Exhibit Title</a:t>
            </a:r>
            <a:br>
              <a:rPr lang="en-US" sz="2639"/>
            </a:br>
            <a:r>
              <a:rPr lang="en-US" sz="2309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4810" y="3580313"/>
            <a:ext cx="4097416" cy="26903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9BE8FFB2-ED1A-4DA5-B35B-4638F065D610}"/>
              </a:ext>
            </a:extLst>
          </p:cNvPr>
          <p:cNvGrpSpPr/>
          <p:nvPr userDrawn="1"/>
        </p:nvGrpSpPr>
        <p:grpSpPr>
          <a:xfrm>
            <a:off x="17014150" y="5195669"/>
            <a:ext cx="2184007" cy="1580528"/>
            <a:chOff x="10162879" y="3243765"/>
            <a:chExt cx="1324372" cy="958299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F4777C54-05D5-4D85-8C66-87DACC324AFE}"/>
                </a:ext>
              </a:extLst>
            </p:cNvPr>
            <p:cNvSpPr txBox="1"/>
            <p:nvPr/>
          </p:nvSpPr>
          <p:spPr>
            <a:xfrm>
              <a:off x="10886522" y="3243765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D4CECC3-0534-4DF1-866D-D89C37CA94D0}"/>
                </a:ext>
              </a:extLst>
            </p:cNvPr>
            <p:cNvSpPr txBox="1"/>
            <p:nvPr/>
          </p:nvSpPr>
          <p:spPr>
            <a:xfrm>
              <a:off x="10886522" y="3615186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EBF9370-367D-4EA5-9650-A8192C067695}"/>
                </a:ext>
              </a:extLst>
            </p:cNvPr>
            <p:cNvSpPr txBox="1"/>
            <p:nvPr/>
          </p:nvSpPr>
          <p:spPr>
            <a:xfrm>
              <a:off x="10886522" y="3986607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851C030-60CC-4FCA-8469-276087EA26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309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740A3D2-B5B9-4486-835A-7EB56BC0B6B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309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CFD9884-F6CB-4F78-B164-BFE94EB68BB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309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0ACA31A-EBEB-44B0-9534-4954E640347F}"/>
              </a:ext>
            </a:extLst>
          </p:cNvPr>
          <p:cNvGrpSpPr/>
          <p:nvPr userDrawn="1"/>
        </p:nvGrpSpPr>
        <p:grpSpPr>
          <a:xfrm>
            <a:off x="17625980" y="1889070"/>
            <a:ext cx="1572177" cy="2856365"/>
            <a:chOff x="7723680" y="1702457"/>
            <a:chExt cx="95336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DC05171-CE46-40FF-A3C0-7D6288C5669B}"/>
                </a:ext>
              </a:extLst>
            </p:cNvPr>
            <p:cNvSpPr txBox="1"/>
            <p:nvPr/>
          </p:nvSpPr>
          <p:spPr>
            <a:xfrm>
              <a:off x="8076312" y="1709809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55C6E9E9-FF0E-432A-9B84-E97DD234239C}"/>
                </a:ext>
              </a:extLst>
            </p:cNvPr>
            <p:cNvSpPr txBox="1"/>
            <p:nvPr/>
          </p:nvSpPr>
          <p:spPr>
            <a:xfrm>
              <a:off x="8076312" y="2085268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1F922A36-0DC3-40E9-AA33-062092CCE2CA}"/>
                </a:ext>
              </a:extLst>
            </p:cNvPr>
            <p:cNvSpPr txBox="1"/>
            <p:nvPr/>
          </p:nvSpPr>
          <p:spPr>
            <a:xfrm>
              <a:off x="8076312" y="2460727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5BD4E972-91E5-46CE-BD9A-D96F02CCE803}"/>
                </a:ext>
              </a:extLst>
            </p:cNvPr>
            <p:cNvSpPr txBox="1"/>
            <p:nvPr/>
          </p:nvSpPr>
          <p:spPr>
            <a:xfrm>
              <a:off x="8076312" y="2836186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805B594-6FD7-4BF2-AD8B-51C7B5B9FB60}"/>
                </a:ext>
              </a:extLst>
            </p:cNvPr>
            <p:cNvSpPr txBox="1"/>
            <p:nvPr/>
          </p:nvSpPr>
          <p:spPr>
            <a:xfrm>
              <a:off x="8076312" y="3211647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D449C9F2-BEA3-40FA-A464-A9D4E967839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2E35939-353E-4E37-B5E1-41695F47D97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309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0B8BBED7-720B-47B5-872C-F999EC2288C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09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41C4EF6-9004-4183-B574-AFD44AC5EA5D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5CCA82A7-7FA1-4B6D-8B78-68A7BED3B73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309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8938453D-31F4-465E-8D29-7E73DBF581A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09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BED1CD13-DEFC-405A-95BD-C039230CF62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357ECE6-9F7A-44F6-9E04-35416B1691E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309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1C31A74-B4CF-494D-A5B7-A2DC7375C32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09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8685B9E4-AB94-4DB0-A343-F6510E2A87C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085192EF-7EAA-4A4D-ACFF-6218BBA4D80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309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A4CA4248-E892-4FB5-B48B-AD5B593D96B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09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F2CA276-A615-4E77-9230-E6DF629BBC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CE9D8D38-7A0F-4D15-9E4D-86B8DDD62C8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309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EB82467-28AB-4A78-9AD7-85CFECC3009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2309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2BFB81-C9AD-40C1-861B-FAC435DC563B}"/>
              </a:ext>
            </a:extLst>
          </p:cNvPr>
          <p:cNvGrpSpPr/>
          <p:nvPr userDrawn="1"/>
        </p:nvGrpSpPr>
        <p:grpSpPr>
          <a:xfrm>
            <a:off x="17669657" y="7226422"/>
            <a:ext cx="1528499" cy="2832344"/>
            <a:chOff x="10652400" y="4322817"/>
            <a:chExt cx="926875" cy="1717295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11A4C32-ABB7-4EED-80F4-E033CD65556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087CB19-43C3-4A75-992E-6425E01D27D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8FB5D1AF-949F-4615-AB7F-D9569D2A2D5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CF91784-EA7E-4DDA-ACE5-678BDF30D92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3BB69B83-F4BD-4CE4-8EF8-59333989EFF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09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51578018-7547-4CE7-822B-A395CEB8BA1A}"/>
                </a:ext>
              </a:extLst>
            </p:cNvPr>
            <p:cNvSpPr txBox="1"/>
            <p:nvPr/>
          </p:nvSpPr>
          <p:spPr>
            <a:xfrm>
              <a:off x="10978546" y="4322817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B184683-011B-4318-ACFE-16B642606BB6}"/>
                </a:ext>
              </a:extLst>
            </p:cNvPr>
            <p:cNvSpPr txBox="1"/>
            <p:nvPr/>
          </p:nvSpPr>
          <p:spPr>
            <a:xfrm>
              <a:off x="10978546" y="4702315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14B8E185-A1D2-4430-AEC9-5D05B9257EAD}"/>
                </a:ext>
              </a:extLst>
            </p:cNvPr>
            <p:cNvSpPr txBox="1"/>
            <p:nvPr/>
          </p:nvSpPr>
          <p:spPr>
            <a:xfrm>
              <a:off x="10978546" y="5081814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3AD66AD6-7134-4D29-A117-DA716D0DAEF8}"/>
                </a:ext>
              </a:extLst>
            </p:cNvPr>
            <p:cNvSpPr txBox="1"/>
            <p:nvPr/>
          </p:nvSpPr>
          <p:spPr>
            <a:xfrm>
              <a:off x="10978546" y="5453234"/>
              <a:ext cx="600729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5632C85-3EA0-4087-8FA3-BBAEDA90037B}"/>
                </a:ext>
              </a:extLst>
            </p:cNvPr>
            <p:cNvSpPr txBox="1"/>
            <p:nvPr/>
          </p:nvSpPr>
          <p:spPr>
            <a:xfrm>
              <a:off x="10978545" y="5824655"/>
              <a:ext cx="600730" cy="21545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989"/>
                </a:spcAft>
              </a:pPr>
              <a:r>
                <a:rPr lang="en-US" sz="2309"/>
                <a:t>Legend</a:t>
              </a:r>
            </a:p>
          </p:txBody>
        </p:sp>
      </p:grpSp>
      <p:pic>
        <p:nvPicPr>
          <p:cNvPr id="150" name="Picture 149">
            <a:extLst>
              <a:ext uri="{FF2B5EF4-FFF2-40B4-BE49-F238E27FC236}">
                <a16:creationId xmlns:a16="http://schemas.microsoft.com/office/drawing/2014/main" id="{ADB1FF23-6336-4BBF-AD9F-9C7705DB3C6F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7837969" y="280921"/>
            <a:ext cx="1352911" cy="839013"/>
          </a:xfrm>
          <a:prstGeom prst="rect">
            <a:avLst/>
          </a:prstGeom>
        </p:spPr>
      </p:pic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A4200F5E-7E0C-4B10-867B-285BF77CA13A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903187" y="1119933"/>
            <a:ext cx="16538078" cy="0"/>
          </a:xfrm>
          <a:prstGeom prst="line">
            <a:avLst/>
          </a:prstGeom>
          <a:ln w="3175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SIPCMContentMarking" descr="{&quot;HashCode&quot;:305565616,&quot;Placement&quot;:&quot;Footer&quot;,&quot;Top&quot;:856.752136,&quot;Left&quot;:0.0,&quot;SlideWidth&quot;:1583,&quot;SlideHeight&quot;:890}">
            <a:extLst>
              <a:ext uri="{FF2B5EF4-FFF2-40B4-BE49-F238E27FC236}">
                <a16:creationId xmlns:a16="http://schemas.microsoft.com/office/drawing/2014/main" id="{4EBBCFEC-F4D4-4C80-B196-ACF03DAF693D}"/>
              </a:ext>
            </a:extLst>
          </p:cNvPr>
          <p:cNvSpPr txBox="1"/>
          <p:nvPr userDrawn="1"/>
        </p:nvSpPr>
        <p:spPr>
          <a:xfrm>
            <a:off x="0" y="10880752"/>
            <a:ext cx="997239" cy="43018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000000"/>
                </a:solidFill>
                <a:latin typeface="Arial" panose="020B0604020202020204" pitchFamily="34" charset="0"/>
              </a:rPr>
              <a:t>SW Private
Personal</a:t>
            </a:r>
          </a:p>
        </p:txBody>
      </p:sp>
    </p:spTree>
    <p:extLst>
      <p:ext uri="{BB962C8B-B14F-4D97-AF65-F5344CB8AC3E}">
        <p14:creationId xmlns:p14="http://schemas.microsoft.com/office/powerpoint/2010/main" val="360624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</p:sldLayoutIdLst>
  <p:hf hdr="0" ftr="0" dt="0"/>
  <p:txStyles>
    <p:titleStyle>
      <a:lvl1pPr algn="l" defTabSz="1507937" rtl="0" eaLnBrk="1" latinLnBrk="0" hangingPunct="1">
        <a:lnSpc>
          <a:spcPct val="100000"/>
        </a:lnSpc>
        <a:spcBef>
          <a:spcPct val="0"/>
        </a:spcBef>
        <a:buNone/>
        <a:defRPr lang="en-US" sz="4403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507937" rtl="0" eaLnBrk="1" latinLnBrk="0" hangingPunct="1">
        <a:lnSpc>
          <a:spcPct val="100000"/>
        </a:lnSpc>
        <a:spcBef>
          <a:spcPts val="495"/>
        </a:spcBef>
        <a:spcAft>
          <a:spcPts val="49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2639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76984" indent="-376984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2639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23810" indent="-346826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2639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80159" indent="-256349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2639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342064" indent="-241270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2639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790675" indent="-282738" algn="l" defTabSz="1507937" rtl="0" eaLnBrk="1" latinLnBrk="0" hangingPunct="1">
        <a:lnSpc>
          <a:spcPct val="100000"/>
        </a:lnSpc>
        <a:spcBef>
          <a:spcPts val="0"/>
        </a:spcBef>
        <a:spcAft>
          <a:spcPts val="495"/>
        </a:spcAft>
        <a:buSzPct val="100000"/>
        <a:buFont typeface="Arial" panose="020B0604020202020204" pitchFamily="34" charset="0"/>
        <a:buChar char="▫"/>
        <a:defRPr sz="2639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69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937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906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874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843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811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780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748" algn="l" defTabSz="1507937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1382266" y="3012760"/>
            <a:ext cx="17341156" cy="7173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0" bIns="45700" anchor="t" anchorCtr="0">
            <a:noAutofit/>
          </a:bodyPr>
          <a:lstStyle>
            <a:lvl1pPr marL="45720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MSIPCMContentMarking" descr="{&quot;HashCode&quot;:305565616,&quot;Placement&quot;:&quot;Footer&quot;,&quot;Top&quot;:856.752136,&quot;Left&quot;:0.0,&quot;SlideWidth&quot;:1583,&quot;SlideHeight&quot;:890}">
            <a:extLst>
              <a:ext uri="{FF2B5EF4-FFF2-40B4-BE49-F238E27FC236}">
                <a16:creationId xmlns:a16="http://schemas.microsoft.com/office/drawing/2014/main" id="{761344E7-9C02-48E8-A698-55DF2E43C1F1}"/>
              </a:ext>
            </a:extLst>
          </p:cNvPr>
          <p:cNvSpPr txBox="1"/>
          <p:nvPr userDrawn="1"/>
        </p:nvSpPr>
        <p:spPr>
          <a:xfrm>
            <a:off x="0" y="10880752"/>
            <a:ext cx="997239" cy="43018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100">
                <a:solidFill>
                  <a:srgbClr val="000000"/>
                </a:solidFill>
                <a:latin typeface="Arial" panose="020B0604020202020204" pitchFamily="34" charset="0"/>
              </a:rPr>
              <a:t>SW Private
Personal</a:t>
            </a:r>
          </a:p>
        </p:txBody>
      </p:sp>
    </p:spTree>
    <p:extLst>
      <p:ext uri="{BB962C8B-B14F-4D97-AF65-F5344CB8AC3E}">
        <p14:creationId xmlns:p14="http://schemas.microsoft.com/office/powerpoint/2010/main" val="150078906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66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67" r:id="rId34"/>
    <p:sldLayoutId id="2147483922" r:id="rId35"/>
    <p:sldLayoutId id="2147483968" r:id="rId36"/>
    <p:sldLayoutId id="2147483969" r:id="rId37"/>
  </p:sldLayoutIdLst>
  <p:transition spd="slow">
    <p:push/>
  </p:transition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078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EA4335"/>
          </p15:clr>
        </p15:guide>
        <p15:guide id="2" pos="380">
          <p15:clr>
            <a:srgbClr val="EA4335"/>
          </p15:clr>
        </p15:guide>
        <p15:guide id="3" pos="5380">
          <p15:clr>
            <a:srgbClr val="EA4335"/>
          </p15:clr>
        </p15:guide>
        <p15:guide id="4" pos="2047">
          <p15:clr>
            <a:srgbClr val="EA4335"/>
          </p15:clr>
        </p15:guide>
        <p15:guide id="5" pos="3713">
          <p15:clr>
            <a:srgbClr val="EA4335"/>
          </p15:clr>
        </p15:guide>
        <p15:guide id="6" orient="horz" pos="1620">
          <p15:clr>
            <a:srgbClr val="EA4335"/>
          </p15:clr>
        </p15:guide>
        <p15:guide id="7" orient="horz" pos="340">
          <p15:clr>
            <a:srgbClr val="EA4335"/>
          </p15:clr>
        </p15:guide>
        <p15:guide id="8" orient="horz" pos="2897">
          <p15:clr>
            <a:srgbClr val="EA4335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D629D-54A1-4D7D-BF2B-A7D4A3EFB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7935" y="1152040"/>
            <a:ext cx="17459231" cy="1409826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Criteria explanation for the LP’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A7DBB8-9C4F-4167-956A-D6700C395F4D}"/>
              </a:ext>
            </a:extLst>
          </p:cNvPr>
          <p:cNvSpPr txBox="1"/>
          <p:nvPr/>
        </p:nvSpPr>
        <p:spPr>
          <a:xfrm>
            <a:off x="1260445" y="1915535"/>
            <a:ext cx="163732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ea typeface="+mn-lt"/>
                <a:cs typeface="+mn-lt"/>
              </a:rPr>
              <a:t>If a premises (land and buildings thereon) has more than one water supply/one meter/one SPID and your previous concern about the wider water/wastewater arrangements have not been addressed within normal processes or the matter is escalating/becoming more involved, please share with the Wholesale Resolutions team.</a:t>
            </a:r>
            <a:r>
              <a:rPr lang="en-GB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n-GB" i="1" dirty="0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81FF7B23-8AF4-4D3E-8C13-0E5239C1D1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963274"/>
              </p:ext>
            </p:extLst>
          </p:nvPr>
        </p:nvGraphicFramePr>
        <p:xfrm>
          <a:off x="1358376" y="3599160"/>
          <a:ext cx="16821136" cy="483191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86091">
                  <a:extLst>
                    <a:ext uri="{9D8B030D-6E8A-4147-A177-3AD203B41FA5}">
                      <a16:colId xmlns:a16="http://schemas.microsoft.com/office/drawing/2014/main" val="4010897329"/>
                    </a:ext>
                  </a:extLst>
                </a:gridCol>
                <a:gridCol w="2016162">
                  <a:extLst>
                    <a:ext uri="{9D8B030D-6E8A-4147-A177-3AD203B41FA5}">
                      <a16:colId xmlns:a16="http://schemas.microsoft.com/office/drawing/2014/main" val="822744931"/>
                    </a:ext>
                  </a:extLst>
                </a:gridCol>
                <a:gridCol w="2104793">
                  <a:extLst>
                    <a:ext uri="{9D8B030D-6E8A-4147-A177-3AD203B41FA5}">
                      <a16:colId xmlns:a16="http://schemas.microsoft.com/office/drawing/2014/main" val="2406615750"/>
                    </a:ext>
                  </a:extLst>
                </a:gridCol>
                <a:gridCol w="1690892">
                  <a:extLst>
                    <a:ext uri="{9D8B030D-6E8A-4147-A177-3AD203B41FA5}">
                      <a16:colId xmlns:a16="http://schemas.microsoft.com/office/drawing/2014/main" val="3032912622"/>
                    </a:ext>
                  </a:extLst>
                </a:gridCol>
                <a:gridCol w="2047138">
                  <a:extLst>
                    <a:ext uri="{9D8B030D-6E8A-4147-A177-3AD203B41FA5}">
                      <a16:colId xmlns:a16="http://schemas.microsoft.com/office/drawing/2014/main" val="3751716597"/>
                    </a:ext>
                  </a:extLst>
                </a:gridCol>
                <a:gridCol w="1729615">
                  <a:extLst>
                    <a:ext uri="{9D8B030D-6E8A-4147-A177-3AD203B41FA5}">
                      <a16:colId xmlns:a16="http://schemas.microsoft.com/office/drawing/2014/main" val="3238654644"/>
                    </a:ext>
                  </a:extLst>
                </a:gridCol>
                <a:gridCol w="2008415">
                  <a:extLst>
                    <a:ext uri="{9D8B030D-6E8A-4147-A177-3AD203B41FA5}">
                      <a16:colId xmlns:a16="http://schemas.microsoft.com/office/drawing/2014/main" val="2692650439"/>
                    </a:ext>
                  </a:extLst>
                </a:gridCol>
                <a:gridCol w="1869015">
                  <a:extLst>
                    <a:ext uri="{9D8B030D-6E8A-4147-A177-3AD203B41FA5}">
                      <a16:colId xmlns:a16="http://schemas.microsoft.com/office/drawing/2014/main" val="3678320114"/>
                    </a:ext>
                  </a:extLst>
                </a:gridCol>
                <a:gridCol w="1869015">
                  <a:extLst>
                    <a:ext uri="{9D8B030D-6E8A-4147-A177-3AD203B41FA5}">
                      <a16:colId xmlns:a16="http://schemas.microsoft.com/office/drawing/2014/main" val="808173868"/>
                    </a:ext>
                  </a:extLst>
                </a:gridCol>
              </a:tblGrid>
              <a:tr h="1395887">
                <a:tc>
                  <a:txBody>
                    <a:bodyPr/>
                    <a:lstStyle/>
                    <a:p>
                      <a:r>
                        <a:rPr lang="en-GB" sz="1800" dirty="0">
                          <a:solidFill>
                            <a:schemeClr val="tx1"/>
                          </a:solidFill>
                        </a:rPr>
                        <a:t>Complexity type</a:t>
                      </a: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tx1"/>
                          </a:solidFill>
                        </a:rPr>
                        <a:t>Multi tenancy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tx1"/>
                          </a:solidFill>
                        </a:rPr>
                        <a:t>Multi meter – same SPID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tx1"/>
                          </a:solidFill>
                        </a:rPr>
                        <a:t>Meter network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tx1"/>
                          </a:solidFill>
                        </a:rPr>
                        <a:t>Repeat demand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Sensitive customer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High usage and complex site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Failed KPI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Paused case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379677"/>
                  </a:ext>
                </a:extLst>
              </a:tr>
              <a:tr h="3436029">
                <a:tc>
                  <a:txBody>
                    <a:bodyPr/>
                    <a:lstStyle/>
                    <a:p>
                      <a:r>
                        <a:rPr lang="en-GB" sz="1800" b="1" dirty="0"/>
                        <a:t>Criteria</a:t>
                      </a: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 kern="1200">
                          <a:effectLst/>
                        </a:rPr>
                        <a:t>Any SPID with an MT absence code that receives 2 or more requests in 6 months.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 dirty="0">
                          <a:effectLst/>
                        </a:rPr>
                        <a:t>Where a water SPID has 2 or more meters and there is more than two requests within 6 months.</a:t>
                      </a:r>
                      <a:endParaRPr lang="en-GB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0" algn="l"/>
                      <a:r>
                        <a:rPr lang="en-GB" sz="1400" u="none" strike="noStrike" dirty="0">
                          <a:effectLst/>
                        </a:rPr>
                        <a:t>Where a main meter water SPID has </a:t>
                      </a:r>
                      <a:r>
                        <a:rPr lang="en-GB" sz="1400" u="none" strike="noStrike">
                          <a:effectLst/>
                        </a:rPr>
                        <a:t>more than one </a:t>
                      </a:r>
                      <a:r>
                        <a:rPr lang="en-GB" sz="1400" u="none" strike="noStrike" dirty="0">
                          <a:effectLst/>
                        </a:rPr>
                        <a:t>request within a year.</a:t>
                      </a:r>
                      <a:endParaRPr lang="en-GB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0" algn="l"/>
                      <a:r>
                        <a:rPr lang="en-GB" sz="1400" u="none" strike="noStrike" kern="1200" dirty="0">
                          <a:effectLst/>
                        </a:rPr>
                        <a:t>Where a SPID has 2 or more request within 30 day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>
                          <a:effectLst/>
                        </a:rPr>
                        <a:t>Wholesale Resolutions will proactively monitor any requests received to see if assistance is required.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>
                          <a:effectLst/>
                        </a:rPr>
                        <a:t>Wholesale Resolutions will proactively monitor any requests received to see if assistance is required.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>
                          <a:effectLst/>
                        </a:rPr>
                        <a:t>Where any case goes outwith KPI and beyond 10BD’s, it is reviewed by the Wholesale Resolutions Team where time permits.</a:t>
                      </a:r>
                      <a:endParaRPr lang="en-GB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u="none" strike="noStrike" dirty="0">
                          <a:effectLst/>
                        </a:rPr>
                        <a:t>Where time permits, Wholesale Resolution team will review paused cases to prompt action</a:t>
                      </a:r>
                      <a:r>
                        <a:rPr lang="en-GB" sz="1400" dirty="0">
                          <a:effectLst/>
                        </a:rPr>
                        <a:t>​.</a:t>
                      </a:r>
                      <a:endParaRPr lang="en-GB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617991"/>
                  </a:ext>
                </a:extLst>
              </a:tr>
            </a:tbl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755DB99-A94B-498C-9266-95ACA2439D9E}"/>
              </a:ext>
            </a:extLst>
          </p:cNvPr>
          <p:cNvSpPr/>
          <p:nvPr/>
        </p:nvSpPr>
        <p:spPr>
          <a:xfrm>
            <a:off x="10701580" y="3159389"/>
            <a:ext cx="7477932" cy="5286164"/>
          </a:xfrm>
          <a:prstGeom prst="roundRect">
            <a:avLst/>
          </a:prstGeom>
          <a:noFill/>
          <a:ln w="57150">
            <a:solidFill>
              <a:srgbClr val="11B3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E81E57-DD9C-4848-A4FF-C446F8B51BEA}"/>
              </a:ext>
            </a:extLst>
          </p:cNvPr>
          <p:cNvSpPr txBox="1"/>
          <p:nvPr/>
        </p:nvSpPr>
        <p:spPr>
          <a:xfrm>
            <a:off x="12510364" y="3159389"/>
            <a:ext cx="3352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/>
              <a:t>Proactively Monitored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ABC8FEE-129E-4BDA-8DFA-52A09B4F90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5379" y="234536"/>
            <a:ext cx="1419225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12955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D629D-54A1-4D7D-BF2B-A7D4A3EFB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7935" y="1152040"/>
            <a:ext cx="17459231" cy="1409826"/>
          </a:xfrm>
        </p:spPr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Volumes by the Complexity Type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81FF7B23-8AF4-4D3E-8C13-0E5239C1D1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7345832"/>
              </p:ext>
            </p:extLst>
          </p:nvPr>
        </p:nvGraphicFramePr>
        <p:xfrm>
          <a:off x="1358376" y="3599160"/>
          <a:ext cx="16821136" cy="4296923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486091">
                  <a:extLst>
                    <a:ext uri="{9D8B030D-6E8A-4147-A177-3AD203B41FA5}">
                      <a16:colId xmlns:a16="http://schemas.microsoft.com/office/drawing/2014/main" val="4010897329"/>
                    </a:ext>
                  </a:extLst>
                </a:gridCol>
                <a:gridCol w="2016162">
                  <a:extLst>
                    <a:ext uri="{9D8B030D-6E8A-4147-A177-3AD203B41FA5}">
                      <a16:colId xmlns:a16="http://schemas.microsoft.com/office/drawing/2014/main" val="822744931"/>
                    </a:ext>
                  </a:extLst>
                </a:gridCol>
                <a:gridCol w="2104793">
                  <a:extLst>
                    <a:ext uri="{9D8B030D-6E8A-4147-A177-3AD203B41FA5}">
                      <a16:colId xmlns:a16="http://schemas.microsoft.com/office/drawing/2014/main" val="2406615750"/>
                    </a:ext>
                  </a:extLst>
                </a:gridCol>
                <a:gridCol w="1690892">
                  <a:extLst>
                    <a:ext uri="{9D8B030D-6E8A-4147-A177-3AD203B41FA5}">
                      <a16:colId xmlns:a16="http://schemas.microsoft.com/office/drawing/2014/main" val="3032912622"/>
                    </a:ext>
                  </a:extLst>
                </a:gridCol>
                <a:gridCol w="2047138">
                  <a:extLst>
                    <a:ext uri="{9D8B030D-6E8A-4147-A177-3AD203B41FA5}">
                      <a16:colId xmlns:a16="http://schemas.microsoft.com/office/drawing/2014/main" val="3751716597"/>
                    </a:ext>
                  </a:extLst>
                </a:gridCol>
                <a:gridCol w="1729615">
                  <a:extLst>
                    <a:ext uri="{9D8B030D-6E8A-4147-A177-3AD203B41FA5}">
                      <a16:colId xmlns:a16="http://schemas.microsoft.com/office/drawing/2014/main" val="3238654644"/>
                    </a:ext>
                  </a:extLst>
                </a:gridCol>
                <a:gridCol w="2008415">
                  <a:extLst>
                    <a:ext uri="{9D8B030D-6E8A-4147-A177-3AD203B41FA5}">
                      <a16:colId xmlns:a16="http://schemas.microsoft.com/office/drawing/2014/main" val="2692650439"/>
                    </a:ext>
                  </a:extLst>
                </a:gridCol>
                <a:gridCol w="1869015">
                  <a:extLst>
                    <a:ext uri="{9D8B030D-6E8A-4147-A177-3AD203B41FA5}">
                      <a16:colId xmlns:a16="http://schemas.microsoft.com/office/drawing/2014/main" val="3678320114"/>
                    </a:ext>
                  </a:extLst>
                </a:gridCol>
                <a:gridCol w="1869015">
                  <a:extLst>
                    <a:ext uri="{9D8B030D-6E8A-4147-A177-3AD203B41FA5}">
                      <a16:colId xmlns:a16="http://schemas.microsoft.com/office/drawing/2014/main" val="808173868"/>
                    </a:ext>
                  </a:extLst>
                </a:gridCol>
              </a:tblGrid>
              <a:tr h="725455">
                <a:tc>
                  <a:txBody>
                    <a:bodyPr/>
                    <a:lstStyle/>
                    <a:p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Complexity type</a:t>
                      </a:r>
                    </a:p>
                  </a:txBody>
                  <a:tcPr anchor="ctr">
                    <a:solidFill>
                      <a:srgbClr val="F9B8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Multi tenancy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Multi meter – same SPID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Meter network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Repeat demand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Sensitive customer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High usage and complex sites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Failed KPI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>
                          <a:solidFill>
                            <a:schemeClr val="tx1"/>
                          </a:solidFill>
                        </a:rPr>
                        <a:t>Paused case</a:t>
                      </a:r>
                    </a:p>
                  </a:txBody>
                  <a:tcPr anchor="ctr"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379677"/>
                  </a:ext>
                </a:extLst>
              </a:tr>
              <a:tr h="1785734">
                <a:tc>
                  <a:txBody>
                    <a:bodyPr/>
                    <a:lstStyle/>
                    <a:p>
                      <a:r>
                        <a:rPr lang="en-GB" sz="1800" b="1"/>
                        <a:t>Criteria</a:t>
                      </a:r>
                    </a:p>
                  </a:txBody>
                  <a:tcPr anchor="ctr">
                    <a:solidFill>
                      <a:srgbClr val="F9B8A9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 kern="1200">
                          <a:effectLst/>
                        </a:rPr>
                        <a:t>Any SPID with an MT absence code that receives 2 or more requests in 6 months.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 dirty="0">
                          <a:effectLst/>
                        </a:rPr>
                        <a:t>Where a water SPID has 2 or more meters and there is more than two requests within 6 months.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 dirty="0">
                          <a:effectLst/>
                        </a:rPr>
                        <a:t>Where a main meter water SPID has more than one request within a year.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 kern="1200" dirty="0">
                          <a:effectLst/>
                        </a:rPr>
                        <a:t>Where a SPID has 2 or more requests within 30 days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>
                          <a:effectLst/>
                        </a:rPr>
                        <a:t>Wholesale Resolutions will proactively monitor any requests received to see if assistance is required.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>
                          <a:effectLst/>
                        </a:rPr>
                        <a:t>Wholesale Resolutions will proactively monitor any requests received to see if assistance is required.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>
                          <a:effectLst/>
                        </a:rPr>
                        <a:t>Where any case goes </a:t>
                      </a:r>
                      <a:r>
                        <a:rPr lang="en-GB" sz="1200" u="none" strike="noStrike" err="1">
                          <a:effectLst/>
                        </a:rPr>
                        <a:t>outwith</a:t>
                      </a:r>
                      <a:r>
                        <a:rPr lang="en-GB" sz="1200" u="none" strike="noStrike">
                          <a:effectLst/>
                        </a:rPr>
                        <a:t> KPI and beyond 10BD’s, it is reviewed by the Wholesale Resolutions Team where time permits.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u="none" strike="noStrike">
                          <a:effectLst/>
                        </a:rPr>
                        <a:t>Where time permits, Wholesale Resolution team will review paused cases to prompt action</a:t>
                      </a:r>
                      <a:r>
                        <a:rPr lang="en-GB" sz="1200">
                          <a:effectLst/>
                        </a:rPr>
                        <a:t>​.</a:t>
                      </a:r>
                      <a:endParaRPr lang="en-GB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617991"/>
                  </a:ext>
                </a:extLst>
              </a:tr>
              <a:tr h="1785734">
                <a:tc>
                  <a:txBody>
                    <a:bodyPr/>
                    <a:lstStyle/>
                    <a:p>
                      <a:r>
                        <a:rPr lang="en-GB" sz="1800" b="1"/>
                        <a:t>Volumes</a:t>
                      </a:r>
                    </a:p>
                  </a:txBody>
                  <a:tcPr anchor="ctr">
                    <a:solidFill>
                      <a:srgbClr val="F9B8A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507937" rtl="0" eaLnBrk="1" latinLnBrk="0" hangingPunct="1"/>
                      <a:r>
                        <a:rPr lang="en-GB" sz="1200" u="none" strike="noStrike" kern="1200">
                          <a:effectLst/>
                        </a:rPr>
                        <a:t>5 requests per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1507937" rtl="0" eaLnBrk="1" latinLnBrk="0" hangingPunct="1"/>
                      <a:r>
                        <a:rPr lang="en-GB" sz="1200" u="none" strike="noStrike" kern="1200">
                          <a:effectLst/>
                        </a:rPr>
                        <a:t>18 requests per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effectLst/>
                        </a:rPr>
                        <a:t>5 requests per month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effectLst/>
                        </a:rPr>
                        <a:t>78 requests per month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1507937" rtl="0" eaLnBrk="1" latinLnBrk="0" hangingPunct="1"/>
                      <a:r>
                        <a:rPr lang="en-GB" sz="1200" u="none" strike="noStrike" kern="1200">
                          <a:effectLst/>
                        </a:rPr>
                        <a:t>4 requests per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1507937" rtl="0" eaLnBrk="1" latinLnBrk="0" hangingPunct="1"/>
                      <a:r>
                        <a:rPr lang="en-GB" sz="1200" u="none" strike="noStrike" kern="1200">
                          <a:effectLst/>
                        </a:rPr>
                        <a:t>10 requests per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>
                          <a:effectLst/>
                        </a:rPr>
                        <a:t>3-4 requests per month</a:t>
                      </a:r>
                      <a:endParaRPr lang="en-GB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150793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effectLst/>
                        </a:rPr>
                        <a:t>60 requests per month</a:t>
                      </a:r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4671933"/>
                  </a:ext>
                </a:extLst>
              </a:tr>
            </a:tbl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755DB99-A94B-498C-9266-95ACA2439D9E}"/>
              </a:ext>
            </a:extLst>
          </p:cNvPr>
          <p:cNvSpPr/>
          <p:nvPr/>
        </p:nvSpPr>
        <p:spPr>
          <a:xfrm>
            <a:off x="10701580" y="3159389"/>
            <a:ext cx="7477932" cy="4697033"/>
          </a:xfrm>
          <a:prstGeom prst="roundRect">
            <a:avLst/>
          </a:prstGeom>
          <a:noFill/>
          <a:ln w="57150">
            <a:solidFill>
              <a:srgbClr val="11B38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E81E57-DD9C-4848-A4FF-C446F8B51BEA}"/>
              </a:ext>
            </a:extLst>
          </p:cNvPr>
          <p:cNvSpPr txBox="1"/>
          <p:nvPr/>
        </p:nvSpPr>
        <p:spPr>
          <a:xfrm>
            <a:off x="12510364" y="3159389"/>
            <a:ext cx="3352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/>
              <a:t>Proactively Monitored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F8D7E40-59D5-4F53-93C3-2D77A084F0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5379" y="234536"/>
            <a:ext cx="1419225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44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EfRZ3s2vS1Gk_MjUmSK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4jhcJFNwVQI68VIaR6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599E"/>
      </a:accent1>
      <a:accent2>
        <a:srgbClr val="00ADEF"/>
      </a:accent2>
      <a:accent3>
        <a:srgbClr val="2E70D2"/>
      </a:accent3>
      <a:accent4>
        <a:srgbClr val="AFD1EF"/>
      </a:accent4>
      <a:accent5>
        <a:srgbClr val="969696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599E"/>
        </a:accent1>
        <a:accent2>
          <a:srgbClr val="00ADEF"/>
        </a:accent2>
        <a:accent3>
          <a:srgbClr val="2E70D2"/>
        </a:accent3>
        <a:accent4>
          <a:srgbClr val="AFD1EF"/>
        </a:accent4>
        <a:accent5>
          <a:srgbClr val="969696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O3928_OFF.potx" id="{360407E4-FF6F-4C2C-B8C8-253EAAC97CEF}" vid="{8257EACD-0A67-46CE-95C7-9DED4ABF3A1F}"/>
    </a:ext>
  </a:extLst>
</a:theme>
</file>

<file path=ppt/theme/theme4.xml><?xml version="1.0" encoding="utf-8"?>
<a:theme xmlns:a="http://schemas.openxmlformats.org/drawingml/2006/main" name="SIA PARTNERS TEMPLATE">
  <a:themeElements>
    <a:clrScheme name="NewTemplateActu">
      <a:dk1>
        <a:srgbClr val="1A1A1A"/>
      </a:dk1>
      <a:lt1>
        <a:srgbClr val="383838"/>
      </a:lt1>
      <a:dk2>
        <a:srgbClr val="6A6A6A"/>
      </a:dk2>
      <a:lt2>
        <a:srgbClr val="FFFFFF"/>
      </a:lt2>
      <a:accent1>
        <a:srgbClr val="1DE9B6"/>
      </a:accent1>
      <a:accent2>
        <a:srgbClr val="383838"/>
      </a:accent2>
      <a:accent3>
        <a:srgbClr val="6A6A6A"/>
      </a:accent3>
      <a:accent4>
        <a:srgbClr val="E0E0E0"/>
      </a:accent4>
      <a:accent5>
        <a:srgbClr val="F4F4F4"/>
      </a:accent5>
      <a:accent6>
        <a:srgbClr val="FFFFFF"/>
      </a:accent6>
      <a:hlink>
        <a:srgbClr val="383838"/>
      </a:hlink>
      <a:folHlink>
        <a:srgbClr val="690F3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94E2DF468315468DE7D99B0AB191AF" ma:contentTypeVersion="13" ma:contentTypeDescription="Create a new document." ma:contentTypeScope="" ma:versionID="ec8d614bfbdece2535cbc8f8323c800a">
  <xsd:schema xmlns:xsd="http://www.w3.org/2001/XMLSchema" xmlns:xs="http://www.w3.org/2001/XMLSchema" xmlns:p="http://schemas.microsoft.com/office/2006/metadata/properties" xmlns:ns3="a082fbc0-3fb2-4a2a-bd59-844844abef97" xmlns:ns4="67095111-49ac-419f-ae18-2bef0893ba78" targetNamespace="http://schemas.microsoft.com/office/2006/metadata/properties" ma:root="true" ma:fieldsID="68ce1e1bdbb76849fb6de87eed790259" ns3:_="" ns4:_="">
    <xsd:import namespace="a082fbc0-3fb2-4a2a-bd59-844844abef97"/>
    <xsd:import namespace="67095111-49ac-419f-ae18-2bef0893ba7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82fbc0-3fb2-4a2a-bd59-844844abef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095111-49ac-419f-ae18-2bef0893ba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7095111-49ac-419f-ae18-2bef0893ba78">
      <UserInfo>
        <DisplayName>SharingLinks.9529ddf7-b768-4ee1-8638-8b40a38b97bf.Flexible.9db4445d-f8b9-41b2-9e7f-b82741a96836</DisplayName>
        <AccountId>121</AccountId>
        <AccountType/>
      </UserInfo>
      <UserInfo>
        <DisplayName>Adnan Yusaf</DisplayName>
        <AccountId>112</AccountId>
        <AccountType/>
      </UserInfo>
      <UserInfo>
        <DisplayName>Grant McIntosh</DisplayName>
        <AccountId>27</AccountId>
        <AccountType/>
      </UserInfo>
      <UserInfo>
        <DisplayName>Cheryl Leonard</DisplayName>
        <AccountId>62</AccountId>
        <AccountType/>
      </UserInfo>
      <UserInfo>
        <DisplayName>SharingLinks.521644be-b8a3-4254-811e-81d834ac06ea.Flexible.d74884e5-c590-4e06-859a-ddb5310aaa45</DisplayName>
        <AccountId>277</AccountId>
        <AccountType/>
      </UserInfo>
      <UserInfo>
        <DisplayName>WTP Users</DisplayName>
        <AccountId>21</AccountId>
        <AccountType/>
      </UserInfo>
      <UserInfo>
        <DisplayName>SharingLinks.e59674d4-ef73-486e-a063-af2be472d0a3.Flexible.e3d618c0-5c77-4527-bc91-f8cafe3ec5b8</DisplayName>
        <AccountId>243</AccountId>
        <AccountType/>
      </UserInfo>
      <UserInfo>
        <DisplayName>Grant McMillan</DisplayName>
        <AccountId>35</AccountId>
        <AccountType/>
      </UserInfo>
      <UserInfo>
        <DisplayName>Philip Chilvers</DisplayName>
        <AccountId>28</AccountId>
        <AccountType/>
      </UserInfo>
      <UserInfo>
        <DisplayName>Belinda Oldfield</DisplayName>
        <AccountId>51</AccountId>
        <AccountType/>
      </UserInfo>
      <UserInfo>
        <DisplayName>Kevin Roy</DisplayName>
        <AccountId>70</AccountId>
        <AccountType/>
      </UserInfo>
      <UserInfo>
        <DisplayName>Stephen McIntosh</DisplayName>
        <AccountId>79</AccountId>
        <AccountType/>
      </UserInfo>
      <UserInfo>
        <DisplayName>Allan Mason</DisplayName>
        <AccountId>130</AccountId>
        <AccountType/>
      </UserInfo>
      <UserInfo>
        <DisplayName>Kenny Laing</DisplayName>
        <AccountId>44</AccountId>
        <AccountType/>
      </UserInfo>
      <UserInfo>
        <DisplayName>Richard Lavery</DisplayName>
        <AccountId>45</AccountId>
        <AccountType/>
      </UserInfo>
      <UserInfo>
        <DisplayName>Ruth Schofield</DisplayName>
        <AccountId>333</AccountId>
        <AccountType/>
      </UserInfo>
      <UserInfo>
        <DisplayName>Bill Howie</DisplayName>
        <AccountId>98</AccountId>
        <AccountType/>
      </UserInfo>
      <UserInfo>
        <DisplayName>Craig Lawson</DisplayName>
        <AccountId>209</AccountId>
        <AccountType/>
      </UserInfo>
      <UserInfo>
        <DisplayName>Sharon Ford</DisplayName>
        <AccountId>122</AccountId>
        <AccountType/>
      </UserInfo>
      <UserInfo>
        <DisplayName>Claire Brady</DisplayName>
        <AccountId>123</AccountId>
        <AccountType/>
      </UserInfo>
      <UserInfo>
        <DisplayName>Amy Methven</DisplayName>
        <AccountId>336</AccountId>
        <AccountType/>
      </UserInfo>
      <UserInfo>
        <DisplayName>Lara Fisher</DisplayName>
        <AccountId>197</AccountId>
        <AccountType/>
      </UserInfo>
      <UserInfo>
        <DisplayName>Paul MacFarlane</DisplayName>
        <AccountId>6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244C582-D1D3-45C1-8182-15F0A19507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1B67A3-756F-456A-9F0C-5D78CE8BA3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82fbc0-3fb2-4a2a-bd59-844844abef97"/>
    <ds:schemaRef ds:uri="67095111-49ac-419f-ae18-2bef0893ba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8FFA442-0C4B-475D-8702-54FAE3A1229A}">
  <ds:schemaRefs>
    <ds:schemaRef ds:uri="http://purl.org/dc/elements/1.1/"/>
    <ds:schemaRef ds:uri="http://www.w3.org/XML/1998/namespace"/>
    <ds:schemaRef ds:uri="http://schemas.microsoft.com/office/2006/documentManagement/types"/>
    <ds:schemaRef ds:uri="a082fbc0-3fb2-4a2a-bd59-844844abef97"/>
    <ds:schemaRef ds:uri="http://purl.org/dc/dcmitype/"/>
    <ds:schemaRef ds:uri="http://schemas.openxmlformats.org/package/2006/metadata/core-properties"/>
    <ds:schemaRef ds:uri="67095111-49ac-419f-ae18-2bef0893ba78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7</TotalTime>
  <Words>419</Words>
  <Application>Microsoft Office PowerPoint</Application>
  <PresentationFormat>Custom</PresentationFormat>
  <Paragraphs>5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Segoe UI</vt:lpstr>
      <vt:lpstr>Wingdings</vt:lpstr>
      <vt:lpstr>Georgia</vt:lpstr>
      <vt:lpstr>Calibri</vt:lpstr>
      <vt:lpstr>Office Theme</vt:lpstr>
      <vt:lpstr>White</vt:lpstr>
      <vt:lpstr>1_White</vt:lpstr>
      <vt:lpstr>SIA PARTNERS TEMPLATE</vt:lpstr>
      <vt:lpstr>think-cell Slide</vt:lpstr>
      <vt:lpstr>Criteria explanation for the LP’s</vt:lpstr>
      <vt:lpstr>Volumes by the Complexity Typ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ation team structure</dc:title>
  <dc:creator>Nisarg Hirani</dc:creator>
  <cp:lastModifiedBy>Leanne Chisholm</cp:lastModifiedBy>
  <cp:revision>65</cp:revision>
  <dcterms:created xsi:type="dcterms:W3CDTF">2020-10-07T08:36:40Z</dcterms:created>
  <dcterms:modified xsi:type="dcterms:W3CDTF">2022-09-30T11:0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2D94E2DF468315468DE7D99B0AB191AF</vt:lpwstr>
  </property>
  <property fmtid="{D5CDD505-2E9C-101B-9397-08002B2CF9AE}" pid="4" name="tibcp_RegulatoryPeriod">
    <vt:lpwstr/>
  </property>
  <property fmtid="{D5CDD505-2E9C-101B-9397-08002B2CF9AE}" pid="5" name="tibcp_Directorate">
    <vt:lpwstr/>
  </property>
  <property fmtid="{D5CDD505-2E9C-101B-9397-08002B2CF9AE}" pid="6" name="MSIP_Label_dc7293d6-ee80-4721-8120-268e74c1d1a9_Enabled">
    <vt:lpwstr>true</vt:lpwstr>
  </property>
  <property fmtid="{D5CDD505-2E9C-101B-9397-08002B2CF9AE}" pid="7" name="MSIP_Label_dc7293d6-ee80-4721-8120-268e74c1d1a9_SetDate">
    <vt:lpwstr>2022-09-30T11:03:22Z</vt:lpwstr>
  </property>
  <property fmtid="{D5CDD505-2E9C-101B-9397-08002B2CF9AE}" pid="8" name="MSIP_Label_dc7293d6-ee80-4721-8120-268e74c1d1a9_Method">
    <vt:lpwstr>Privileged</vt:lpwstr>
  </property>
  <property fmtid="{D5CDD505-2E9C-101B-9397-08002B2CF9AE}" pid="9" name="MSIP_Label_dc7293d6-ee80-4721-8120-268e74c1d1a9_Name">
    <vt:lpwstr>dc7293d6-ee80-4721-8120-268e74c1d1a9</vt:lpwstr>
  </property>
  <property fmtid="{D5CDD505-2E9C-101B-9397-08002B2CF9AE}" pid="10" name="MSIP_Label_dc7293d6-ee80-4721-8120-268e74c1d1a9_SiteId">
    <vt:lpwstr>f90bd2e7-b5c0-4b25-9e27-226ff8b6c17b</vt:lpwstr>
  </property>
  <property fmtid="{D5CDD505-2E9C-101B-9397-08002B2CF9AE}" pid="11" name="MSIP_Label_dc7293d6-ee80-4721-8120-268e74c1d1a9_ActionId">
    <vt:lpwstr>caed703d-e7f8-400a-b1b3-cb32bfb98229</vt:lpwstr>
  </property>
  <property fmtid="{D5CDD505-2E9C-101B-9397-08002B2CF9AE}" pid="12" name="MSIP_Label_dc7293d6-ee80-4721-8120-268e74c1d1a9_ContentBits">
    <vt:lpwstr>2</vt:lpwstr>
  </property>
</Properties>
</file>